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1"/>
  </p:notesMasterIdLst>
  <p:sldIdLst>
    <p:sldId id="264" r:id="rId3"/>
    <p:sldId id="265" r:id="rId4"/>
    <p:sldId id="258" r:id="rId5"/>
    <p:sldId id="259" r:id="rId6"/>
    <p:sldId id="260" r:id="rId7"/>
    <p:sldId id="261" r:id="rId8"/>
    <p:sldId id="262" r:id="rId9"/>
    <p:sldId id="266" r:id="rId10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7203" autoAdjust="0"/>
  </p:normalViewPr>
  <p:slideViewPr>
    <p:cSldViewPr snapToGrid="0">
      <p:cViewPr varScale="1">
        <p:scale>
          <a:sx n="86" d="100"/>
          <a:sy n="86" d="100"/>
        </p:scale>
        <p:origin x="1584" y="84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olling Year-to-Date</a:t>
            </a:r>
            <a:r>
              <a:rPr lang="en-AU" b="1" baseline="0" dirty="0"/>
              <a:t> Cost to Produce per </a:t>
            </a:r>
            <a:r>
              <a:rPr lang="en-AU" b="1" baseline="0" dirty="0" err="1"/>
              <a:t>MegaLitre</a:t>
            </a:r>
            <a:r>
              <a:rPr lang="en-AU" b="1" baseline="0" dirty="0"/>
              <a:t> ($/Mega-Litre) Actual 2013-Jul to 2014 Jun Versus 2014-2015 Forecast [Overall]</a:t>
            </a:r>
            <a:endParaRPr lang="en-AU" b="1" dirty="0"/>
          </a:p>
        </c:rich>
      </c:tx>
      <c:layout>
        <c:manualLayout>
          <c:xMode val="edge"/>
          <c:yMode val="edge"/>
          <c:x val="0.11291724593625395"/>
          <c:y val="8.255939853219651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073740369308992"/>
          <c:y val="0.13911403329578664"/>
          <c:w val="0.83071062058903589"/>
          <c:h val="0.69391849141372408"/>
        </c:manualLayout>
      </c:layout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Cost to Produce Forecast'!$C$36:$N$3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11:$N$11</c:f>
              <c:numCache>
                <c:formatCode>"$"#,##0.00;[Red]\-"$"#,##0.00</c:formatCode>
                <c:ptCount val="12"/>
                <c:pt idx="0">
                  <c:v>38.943067984802724</c:v>
                </c:pt>
                <c:pt idx="1">
                  <c:v>40.982085995288685</c:v>
                </c:pt>
                <c:pt idx="2">
                  <c:v>44.817619174921163</c:v>
                </c:pt>
                <c:pt idx="3">
                  <c:v>44.361881339882686</c:v>
                </c:pt>
                <c:pt idx="4">
                  <c:v>47.651292660949061</c:v>
                </c:pt>
                <c:pt idx="5">
                  <c:v>50.263580785289378</c:v>
                </c:pt>
                <c:pt idx="6">
                  <c:v>56.222393729850936</c:v>
                </c:pt>
                <c:pt idx="7">
                  <c:v>62.274076170740628</c:v>
                </c:pt>
                <c:pt idx="8">
                  <c:v>69.446144140815235</c:v>
                </c:pt>
                <c:pt idx="9">
                  <c:v>74.315847830643136</c:v>
                </c:pt>
                <c:pt idx="10">
                  <c:v>72.4987115615005</c:v>
                </c:pt>
                <c:pt idx="11">
                  <c:v>71.67517138959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7-4C78-AF0B-B849963315C8}"/>
            </c:ext>
          </c:extLst>
        </c:ser>
        <c:ser>
          <c:idx val="1"/>
          <c:order val="1"/>
          <c:tx>
            <c:v/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'Cost to Produce Forecast'!$C$36:$N$3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 Forecast'!$C$43:$N$43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7-4C78-AF0B-B849963315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Forecast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Cost to Produce Forecast'!$C$11:$N$11</c:f>
              <c:numCache>
                <c:formatCode>"$"#,##0.00;[Red]\-"$"#,##0.00</c:formatCode>
                <c:ptCount val="12"/>
                <c:pt idx="0">
                  <c:v>38.943067984802724</c:v>
                </c:pt>
                <c:pt idx="1">
                  <c:v>40.982085995288685</c:v>
                </c:pt>
                <c:pt idx="2">
                  <c:v>44.817619174921163</c:v>
                </c:pt>
                <c:pt idx="3">
                  <c:v>44.361881339882686</c:v>
                </c:pt>
                <c:pt idx="4">
                  <c:v>47.651292660949061</c:v>
                </c:pt>
                <c:pt idx="5">
                  <c:v>50.263580785289378</c:v>
                </c:pt>
                <c:pt idx="6">
                  <c:v>56.222393729850936</c:v>
                </c:pt>
                <c:pt idx="7">
                  <c:v>62.274076170740628</c:v>
                </c:pt>
                <c:pt idx="8">
                  <c:v>69.446144140815235</c:v>
                </c:pt>
                <c:pt idx="9">
                  <c:v>74.315847830643136</c:v>
                </c:pt>
                <c:pt idx="10">
                  <c:v>72.4987115615005</c:v>
                </c:pt>
                <c:pt idx="11">
                  <c:v>71.67517138959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3D7-4C78-AF0B-B849963315C8}"/>
            </c:ext>
          </c:extLst>
        </c:ser>
        <c:ser>
          <c:idx val="3"/>
          <c:order val="3"/>
          <c:tx>
            <c:v>Actuals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Cost to Produce Forecast'!$C$43:$N$43</c:f>
              <c:numCache>
                <c:formatCode>"$"#,##0.00;[Red]\-"$"#,##0.00</c:formatCode>
                <c:ptCount val="12"/>
                <c:pt idx="0">
                  <c:v>32.51713711737181</c:v>
                </c:pt>
                <c:pt idx="1">
                  <c:v>35.274262321141215</c:v>
                </c:pt>
                <c:pt idx="2">
                  <c:v>36.512178207603895</c:v>
                </c:pt>
                <c:pt idx="3">
                  <c:v>37.65539791300889</c:v>
                </c:pt>
                <c:pt idx="4">
                  <c:v>40.260721514487528</c:v>
                </c:pt>
                <c:pt idx="5">
                  <c:v>38.688207095620903</c:v>
                </c:pt>
                <c:pt idx="6">
                  <c:v>36.941136420629164</c:v>
                </c:pt>
                <c:pt idx="7">
                  <c:v>35.699638303730488</c:v>
                </c:pt>
                <c:pt idx="8">
                  <c:v>34.4419628489632</c:v>
                </c:pt>
                <c:pt idx="9">
                  <c:v>34.058425845177709</c:v>
                </c:pt>
                <c:pt idx="10">
                  <c:v>34.114232796761726</c:v>
                </c:pt>
                <c:pt idx="11">
                  <c:v>33.657442894960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3D7-4C78-AF0B-B849963315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egaLitre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Overhead Actual vs Forecast 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4734241553641579E-2"/>
          <c:y val="0.20709718072163635"/>
          <c:w val="0.87851087241604886"/>
          <c:h val="0.66856800541751316"/>
        </c:manualLayout>
      </c:layout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11:$N$11</c:f>
              <c:numCache>
                <c:formatCode>"$"\ 0.0\ "M"</c:formatCode>
                <c:ptCount val="12"/>
                <c:pt idx="0">
                  <c:v>22.183213865999996</c:v>
                </c:pt>
                <c:pt idx="1">
                  <c:v>24.537342744000004</c:v>
                </c:pt>
                <c:pt idx="2">
                  <c:v>29.425008287999997</c:v>
                </c:pt>
                <c:pt idx="3">
                  <c:v>26.510221404000003</c:v>
                </c:pt>
                <c:pt idx="4">
                  <c:v>32.880525812499997</c:v>
                </c:pt>
                <c:pt idx="5">
                  <c:v>32.031858149599998</c:v>
                </c:pt>
                <c:pt idx="6">
                  <c:v>29.265881509999996</c:v>
                </c:pt>
                <c:pt idx="7">
                  <c:v>30.431293610699996</c:v>
                </c:pt>
                <c:pt idx="8">
                  <c:v>32.952606978299997</c:v>
                </c:pt>
                <c:pt idx="9">
                  <c:v>27.390306795000001</c:v>
                </c:pt>
                <c:pt idx="10">
                  <c:v>32.404002505000001</c:v>
                </c:pt>
                <c:pt idx="11">
                  <c:v>36.147266994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BE-4A58-9961-3C5098470135}"/>
            </c:ext>
          </c:extLst>
        </c:ser>
        <c:ser>
          <c:idx val="1"/>
          <c:order val="1"/>
          <c:tx>
            <c:v>Actual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45:$N$45</c:f>
              <c:numCache>
                <c:formatCode>"$"\ 0.0\ "M"</c:formatCode>
                <c:ptCount val="12"/>
                <c:pt idx="0">
                  <c:v>19.933122779999991</c:v>
                </c:pt>
                <c:pt idx="1">
                  <c:v>22.50389637</c:v>
                </c:pt>
                <c:pt idx="2">
                  <c:v>23.089363009999992</c:v>
                </c:pt>
                <c:pt idx="3">
                  <c:v>26.762248569999997</c:v>
                </c:pt>
                <c:pt idx="4">
                  <c:v>27.680853150000001</c:v>
                </c:pt>
                <c:pt idx="5">
                  <c:v>16.659692229999997</c:v>
                </c:pt>
                <c:pt idx="6">
                  <c:v>17.060488769999996</c:v>
                </c:pt>
                <c:pt idx="7">
                  <c:v>17.65075779</c:v>
                </c:pt>
                <c:pt idx="8">
                  <c:v>17.735456249999995</c:v>
                </c:pt>
                <c:pt idx="9">
                  <c:v>16.787821260000001</c:v>
                </c:pt>
                <c:pt idx="10">
                  <c:v>19.532917229999999</c:v>
                </c:pt>
                <c:pt idx="11">
                  <c:v>15.87322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BE-4A58-9961-3C509847013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/>
                  <a:t>EBITDA</a:t>
                </a:r>
                <a:r>
                  <a:rPr lang="en-AU" baseline="0"/>
                  <a:t> $(M)</a:t>
                </a:r>
                <a:endParaRPr lang="en-AU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\ 0.0\ &quot;M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Breaking down</a:t>
            </a:r>
            <a:r>
              <a:rPr lang="en-US" sz="2000" baseline="0"/>
              <a:t> the Cost-to-Produce Variance</a:t>
            </a:r>
            <a:endParaRPr lang="en-US" sz="2000"/>
          </a:p>
        </c:rich>
      </c:tx>
      <c:layout>
        <c:manualLayout>
          <c:xMode val="edge"/>
          <c:yMode val="edge"/>
          <c:x val="0.27292996191436947"/>
          <c:y val="2.74048472773176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017693169498582"/>
          <c:y val="0.11375955907553036"/>
          <c:w val="0.89982306830501424"/>
          <c:h val="0.72845380406614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ost to Produce Forecast'!$AA$7</c:f>
              <c:strCache>
                <c:ptCount val="1"/>
                <c:pt idx="0">
                  <c:v>Actual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52-4A66-B096-AA259C19BFE5}"/>
              </c:ext>
            </c:extLst>
          </c:dPt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52-4A66-B096-AA259C19BFE5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52-4A66-B096-AA259C19BFE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F9595553-B26C-4316-8245-537BB6545C0B}" type="VALUE">
                      <a:rPr lang="en-US"/>
                      <a:pPr/>
                      <a:t>[VALUE]</a:t>
                    </a:fld>
                    <a:r>
                      <a:rPr lang="en-US"/>
                      <a:t> 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7:$AD$7</c:f>
              <c:numCache>
                <c:formatCode>General</c:formatCode>
                <c:ptCount val="3"/>
                <c:pt idx="0">
                  <c:v>70.34</c:v>
                </c:pt>
                <c:pt idx="1">
                  <c:v>70.34</c:v>
                </c:pt>
                <c:pt idx="2">
                  <c:v>7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252-4A66-B096-AA259C19BFE5}"/>
            </c:ext>
          </c:extLst>
        </c:ser>
        <c:ser>
          <c:idx val="1"/>
          <c:order val="1"/>
          <c:tx>
            <c:strRef>
              <c:f>'Cost to Produce Forecast'!$AA$8</c:f>
              <c:strCache>
                <c:ptCount val="1"/>
                <c:pt idx="0">
                  <c:v>Varianc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252-4A66-B096-AA259C19BFE5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252-4A66-B096-AA259C19BFE5}"/>
              </c:ext>
            </c:extLst>
          </c:dPt>
          <c:dLbls>
            <c:dLbl>
              <c:idx val="0"/>
              <c:layout>
                <c:manualLayout>
                  <c:x val="-3.6318612030382951E-3"/>
                  <c:y val="-0.10436656795920216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30C1208C-6AEC-4E02-8CE4-6AC2D37F5C2E}" type="VALUE">
                      <a:rPr lang="en-US"/>
                      <a:pPr/>
                      <a:t>[VALUE]</a:t>
                    </a:fld>
                    <a:r>
                      <a:rPr lang="en-US"/>
                      <a:t> 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8:$AD$8</c:f>
              <c:numCache>
                <c:formatCode>General</c:formatCode>
                <c:ptCount val="3"/>
                <c:pt idx="0">
                  <c:v>32.520000000000003</c:v>
                </c:pt>
                <c:pt idx="1">
                  <c:v>32.520000000000003</c:v>
                </c:pt>
                <c:pt idx="2">
                  <c:v>32.5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252-4A66-B096-AA259C19BFE5}"/>
            </c:ext>
          </c:extLst>
        </c:ser>
        <c:ser>
          <c:idx val="2"/>
          <c:order val="2"/>
          <c:tx>
            <c:strRef>
              <c:f>'Cost to Produce Forecast'!$AA$9</c:f>
              <c:strCache>
                <c:ptCount val="1"/>
                <c:pt idx="0">
                  <c:v>Actual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252-4A66-B096-AA259C19BFE5}"/>
              </c:ext>
            </c:extLst>
          </c:dPt>
          <c:dLbls>
            <c:dLbl>
              <c:idx val="1"/>
              <c:layout>
                <c:manualLayout>
                  <c:x val="-1.210620401012765E-3"/>
                  <c:y val="2.609164198980049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1D99EA90-DA5A-437F-A924-5548B4C8F5A2}" type="VALUE">
                      <a:rPr lang="en-US"/>
                      <a:pPr/>
                      <a:t>[VALUE]</a:t>
                    </a:fld>
                    <a:r>
                      <a:rPr lang="en-US"/>
                      <a:t>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4252-4A66-B096-AA259C19BFE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9:$AD$9</c:f>
              <c:numCache>
                <c:formatCode>General</c:formatCode>
                <c:ptCount val="3"/>
                <c:pt idx="1">
                  <c:v>1.31</c:v>
                </c:pt>
                <c:pt idx="2">
                  <c:v>1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252-4A66-B096-AA259C19BFE5}"/>
            </c:ext>
          </c:extLst>
        </c:ser>
        <c:ser>
          <c:idx val="3"/>
          <c:order val="3"/>
          <c:tx>
            <c:strRef>
              <c:f>'Cost to Produce Forecast'!$AA$10</c:f>
              <c:strCache>
                <c:ptCount val="1"/>
                <c:pt idx="0">
                  <c:v>Varianc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ysClr val="window" lastClr="FFFF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252-4A66-B096-AA259C19BFE5}"/>
              </c:ext>
            </c:extLst>
          </c:dPt>
          <c:dLbls>
            <c:dLbl>
              <c:idx val="1"/>
              <c:layout>
                <c:manualLayout>
                  <c:x val="-8.8777803838837113E-17"/>
                  <c:y val="-4.2695414165128155E-2"/>
                </c:manualLayout>
              </c:layout>
              <c:tx>
                <c:rich>
                  <a:bodyPr/>
                  <a:lstStyle/>
                  <a:p>
                    <a:fld id="{EDF5E05C-D411-4E53-9DB7-6466B3FA2FCA}" type="VALUE">
                      <a:rPr lang="en-US"/>
                      <a:pPr/>
                      <a:t>[VALUE]</a:t>
                    </a:fld>
                    <a:r>
                      <a:rPr lang="en-US"/>
                      <a:t>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10:$AD$10</c:f>
              <c:numCache>
                <c:formatCode>General</c:formatCode>
                <c:ptCount val="3"/>
                <c:pt idx="1">
                  <c:v>5.49</c:v>
                </c:pt>
                <c:pt idx="2">
                  <c:v>5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252-4A66-B096-AA259C19BFE5}"/>
            </c:ext>
          </c:extLst>
        </c:ser>
        <c:ser>
          <c:idx val="4"/>
          <c:order val="4"/>
          <c:tx>
            <c:strRef>
              <c:f>'Cost to Produce Forecast'!$AA$11</c:f>
              <c:strCache>
                <c:ptCount val="1"/>
                <c:pt idx="0">
                  <c:v>Actual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$</a:t>
                    </a:r>
                    <a:fld id="{4A33E1DE-F217-45AF-976A-95C606293CCE}" type="VALUE">
                      <a:rPr lang="en-US"/>
                      <a:pPr/>
                      <a:t>[VALUE]</a:t>
                    </a:fld>
                    <a:r>
                      <a:rPr lang="en-US"/>
                      <a:t>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11:$AD$11</c:f>
              <c:numCache>
                <c:formatCode>General</c:formatCode>
                <c:ptCount val="3"/>
                <c:pt idx="2">
                  <c:v>32.34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252-4A66-B096-AA259C19BFE5}"/>
            </c:ext>
          </c:extLst>
        </c:ser>
        <c:ser>
          <c:idx val="5"/>
          <c:order val="5"/>
          <c:tx>
            <c:strRef>
              <c:f>'Cost to Produce Forecast'!$AA$12</c:f>
              <c:strCache>
                <c:ptCount val="1"/>
                <c:pt idx="0">
                  <c:v>Varianc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3.557951180427346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$</a:t>
                    </a:r>
                    <a:fld id="{1CC9A3FB-E1EC-49DA-A482-80CD6DC0910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/ML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7-4252-4A66-B096-AA259C19B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st to Produce Forecast'!$AB$6:$AD$6</c:f>
              <c:strCache>
                <c:ptCount val="3"/>
                <c:pt idx="0">
                  <c:v>Revenues($/ML)</c:v>
                </c:pt>
                <c:pt idx="1">
                  <c:v>COGS($/ML)</c:v>
                </c:pt>
                <c:pt idx="2">
                  <c:v>Operational Expenses($/ML)</c:v>
                </c:pt>
              </c:strCache>
            </c:strRef>
          </c:cat>
          <c:val>
            <c:numRef>
              <c:f>'Cost to Produce Forecast'!$AB$12:$AD$12</c:f>
              <c:numCache>
                <c:formatCode>General</c:formatCode>
                <c:ptCount val="3"/>
                <c:pt idx="2">
                  <c:v>3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252-4A66-B096-AA259C19BFE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33595135"/>
        <c:axId val="1126618127"/>
      </c:barChart>
      <c:catAx>
        <c:axId val="1133595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6618127"/>
        <c:crosses val="autoZero"/>
        <c:auto val="1"/>
        <c:lblAlgn val="ctr"/>
        <c:lblOffset val="100"/>
        <c:noMultiLvlLbl val="0"/>
      </c:catAx>
      <c:valAx>
        <c:axId val="1126618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Cost to Produce per Mega_li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3595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.30644958495261754"/>
          <c:y val="0.11300669287037012"/>
          <c:w val="0.3641029507776043"/>
          <c:h val="0.124188745107817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dirty="0"/>
              <a:t>Forecast    $/ML</a:t>
            </a:r>
            <a:r>
              <a:rPr lang="en-AU" baseline="0" dirty="0"/>
              <a:t> versus Market Price</a:t>
            </a:r>
            <a:endParaRPr lang="en-A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1"/>
          <c:order val="0"/>
          <c:tx>
            <c:strRef>
              <c:f>'Pseudo Cost Curve'!$B$1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5.6939501779359428E-2"/>
                  <c:y val="-0.14600550964187328"/>
                </c:manualLayout>
              </c:layout>
              <c:numFmt formatCode="&quot;$&quot;0.0\ &quot;M/L&quot;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D8-4C1A-8E16-EC1C832E0F8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D8-4C1A-8E16-EC1C832E0F8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D8-4C1A-8E16-EC1C832E0F8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D8-4C1A-8E16-EC1C832E0F8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D8-4C1A-8E16-EC1C832E0F8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D8-4C1A-8E16-EC1C832E0F8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2D8-4C1A-8E16-EC1C832E0F8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2D8-4C1A-8E16-EC1C832E0F8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2D8-4C1A-8E16-EC1C832E0F8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2D8-4C1A-8E16-EC1C832E0F8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2D8-4C1A-8E16-EC1C832E0F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B$16:$B$26</c:f>
              <c:numCache>
                <c:formatCode>"$"#,##0.00;[Red]\-"$"#,##0.00</c:formatCode>
                <c:ptCount val="11"/>
                <c:pt idx="0">
                  <c:v>38.5209934230272</c:v>
                </c:pt>
                <c:pt idx="1">
                  <c:v>38.520000000000003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2D8-4C1A-8E16-EC1C832E0F85}"/>
            </c:ext>
          </c:extLst>
        </c:ser>
        <c:ser>
          <c:idx val="2"/>
          <c:order val="1"/>
          <c:tx>
            <c:strRef>
              <c:f>'Pseudo Cost Curve'!$C$15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2D8-4C1A-8E16-EC1C832E0F8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2D8-4C1A-8E16-EC1C832E0F8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2D8-4C1A-8E16-EC1C832E0F85}"/>
                </c:ext>
              </c:extLst>
            </c:dLbl>
            <c:dLbl>
              <c:idx val="3"/>
              <c:layout>
                <c:manualLayout>
                  <c:x val="5.4528339662460054E-2"/>
                  <c:y val="-0.19167886669952089"/>
                </c:manualLayout>
              </c:layout>
              <c:numFmt formatCode="&quot;$&quot;0.0\ &quot;M/L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2D8-4C1A-8E16-EC1C832E0F8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2D8-4C1A-8E16-EC1C832E0F8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2D8-4C1A-8E16-EC1C832E0F8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2D8-4C1A-8E16-EC1C832E0F8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2D8-4C1A-8E16-EC1C832E0F8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E2D8-4C1A-8E16-EC1C832E0F8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E2D8-4C1A-8E16-EC1C832E0F8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E2D8-4C1A-8E16-EC1C832E0F85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C$16:$C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;[Red]\-&quot;$&quot;#,##0.00">
                  <c:v>56.13</c:v>
                </c:pt>
                <c:pt idx="4" formatCode="&quot;$&quot;#,##0.00;[Red]\-&quot;$&quot;#,##0.00">
                  <c:v>56.1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2D8-4C1A-8E16-EC1C832E0F85}"/>
            </c:ext>
          </c:extLst>
        </c:ser>
        <c:ser>
          <c:idx val="3"/>
          <c:order val="2"/>
          <c:tx>
            <c:strRef>
              <c:f>'Pseudo Cost Curve'!$D$1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E2D8-4C1A-8E16-EC1C832E0F8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E2D8-4C1A-8E16-EC1C832E0F8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2D8-4C1A-8E16-EC1C832E0F8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E2D8-4C1A-8E16-EC1C832E0F8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E2D8-4C1A-8E16-EC1C832E0F8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E2D8-4C1A-8E16-EC1C832E0F85}"/>
                </c:ext>
              </c:extLst>
            </c:dLbl>
            <c:dLbl>
              <c:idx val="6"/>
              <c:layout>
                <c:manualLayout>
                  <c:x val="8.890449897082367E-2"/>
                  <c:y val="-0.36511471550059738"/>
                </c:manualLayout>
              </c:layout>
              <c:numFmt formatCode="&quot;$&quot;#,##0.00_);[Red]\(&quot;$&quot;#,##0.0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2D8-4C1A-8E16-EC1C832E0F8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E2D8-4C1A-8E16-EC1C832E0F85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E2D8-4C1A-8E16-EC1C832E0F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D$16:$D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;[Red]\-&quot;$&quot;#,##0.00">
                  <c:v>115.33</c:v>
                </c:pt>
                <c:pt idx="7" formatCode="&quot;$&quot;#,##0.00;[Red]\-&quot;$&quot;#,##0.00">
                  <c:v>115.3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E2D8-4C1A-8E16-EC1C832E0F85}"/>
            </c:ext>
          </c:extLst>
        </c:ser>
        <c:ser>
          <c:idx val="4"/>
          <c:order val="3"/>
          <c:tx>
            <c:strRef>
              <c:f>'Pseudo Cost Curve'!$E$15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E2D8-4C1A-8E16-EC1C832E0F8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2D8-4C1A-8E16-EC1C832E0F8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2D8-4C1A-8E16-EC1C832E0F8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E2D8-4C1A-8E16-EC1C832E0F8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E2D8-4C1A-8E16-EC1C832E0F8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2D8-4C1A-8E16-EC1C832E0F8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E2D8-4C1A-8E16-EC1C832E0F8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E2D8-4C1A-8E16-EC1C832E0F85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E2D8-4C1A-8E16-EC1C832E0F85}"/>
                </c:ext>
              </c:extLst>
            </c:dLbl>
            <c:dLbl>
              <c:idx val="9"/>
              <c:layout>
                <c:manualLayout>
                  <c:x val="0.21945437318260538"/>
                  <c:y val="-0.25009948073639526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2D8-4C1A-8E16-EC1C832E0F8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E2D8-4C1A-8E16-EC1C832E0F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'!$A$16:$A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E$16:$E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;[Red]\-&quot;$&quot;#,##0.00">
                  <c:v>71.67</c:v>
                </c:pt>
                <c:pt idx="10" formatCode="&quot;$&quot;#,##0.00;[Red]\-&quot;$&quot;#,##0.00">
                  <c:v>71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E2D8-4C1A-8E16-EC1C832E0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tx>
            <c:v>Market Price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Pseudo Cost Curve'!$F$16:$F$26</c:f>
              <c:numCache>
                <c:formatCode>General</c:formatCode>
                <c:ptCount val="11"/>
                <c:pt idx="0">
                  <c:v>53.98</c:v>
                </c:pt>
                <c:pt idx="1">
                  <c:v>53.98</c:v>
                </c:pt>
                <c:pt idx="2">
                  <c:v>53.98</c:v>
                </c:pt>
                <c:pt idx="3">
                  <c:v>53.98</c:v>
                </c:pt>
                <c:pt idx="4">
                  <c:v>53.98</c:v>
                </c:pt>
                <c:pt idx="5">
                  <c:v>53.98</c:v>
                </c:pt>
                <c:pt idx="6">
                  <c:v>53.98</c:v>
                </c:pt>
                <c:pt idx="7">
                  <c:v>53.98</c:v>
                </c:pt>
                <c:pt idx="8">
                  <c:v>53.98</c:v>
                </c:pt>
                <c:pt idx="9">
                  <c:v>53.98</c:v>
                </c:pt>
                <c:pt idx="10">
                  <c:v>53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E-E2D8-4C1A-8E16-EC1C832E0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midCat"/>
      </c:valAx>
      <c:valAx>
        <c:axId val="448229256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</c:valAx>
      <c:catAx>
        <c:axId val="44822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489821189536714E-2"/>
          <c:y val="0.17503760531705198"/>
          <c:w val="0.87287002152585391"/>
          <c:h val="0.77804809934305208"/>
        </c:manualLayout>
      </c:layout>
      <c:areaChart>
        <c:grouping val="standard"/>
        <c:varyColors val="0"/>
        <c:ser>
          <c:idx val="1"/>
          <c:order val="0"/>
          <c:tx>
            <c:strRef>
              <c:f>'Pseudo Cost Curve'!$M$1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 w="25400">
              <a:noFill/>
            </a:ln>
            <a:effectLst/>
          </c:spPr>
          <c:cat>
            <c:numRef>
              <c:f>'Pseudo Cost Curve'!$L$16:$L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M$16:$M$26</c:f>
              <c:numCache>
                <c:formatCode>"$"#,##0.00;[Red]\-"$"#,##0.00</c:formatCode>
                <c:ptCount val="11"/>
                <c:pt idx="0">
                  <c:v>22.24</c:v>
                </c:pt>
                <c:pt idx="1">
                  <c:v>22.24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A5-47A3-9AFF-6961F5A97178}"/>
            </c:ext>
          </c:extLst>
        </c:ser>
        <c:ser>
          <c:idx val="2"/>
          <c:order val="1"/>
          <c:tx>
            <c:strRef>
              <c:f>'Pseudo Cost Curve'!$N$15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  <a:effectLst/>
          </c:spPr>
          <c:cat>
            <c:numRef>
              <c:f>'Pseudo Cost Curve'!$L$16:$L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N$16:$N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;[Red]\-&quot;$&quot;#,##0.00">
                  <c:v>22.43</c:v>
                </c:pt>
                <c:pt idx="4" formatCode="&quot;$&quot;#,##0.00;[Red]\-&quot;$&quot;#,##0.00">
                  <c:v>22.4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A5-47A3-9AFF-6961F5A97178}"/>
            </c:ext>
          </c:extLst>
        </c:ser>
        <c:ser>
          <c:idx val="3"/>
          <c:order val="2"/>
          <c:tx>
            <c:strRef>
              <c:f>'Pseudo Cost Curve'!$O$1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 w="25400">
              <a:noFill/>
            </a:ln>
            <a:effectLst/>
          </c:spPr>
          <c:cat>
            <c:numRef>
              <c:f>'Pseudo Cost Curve'!$L$16:$L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O$16:$O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;[Red]\-&quot;$&quot;#,##0.00">
                  <c:v>48.13</c:v>
                </c:pt>
                <c:pt idx="7" formatCode="&quot;$&quot;#,##0.00;[Red]\-&quot;$&quot;#,##0.00">
                  <c:v>48.1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A5-47A3-9AFF-6961F5A97178}"/>
            </c:ext>
          </c:extLst>
        </c:ser>
        <c:ser>
          <c:idx val="4"/>
          <c:order val="3"/>
          <c:tx>
            <c:strRef>
              <c:f>'Pseudo Cost Curve'!$P$15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 w="25400">
              <a:noFill/>
            </a:ln>
            <a:effectLst/>
          </c:spPr>
          <c:cat>
            <c:numRef>
              <c:f>'Pseudo Cost Curve'!$L$16:$L$26</c:f>
              <c:numCache>
                <c:formatCode>0</c:formatCode>
                <c:ptCount val="11"/>
                <c:pt idx="0">
                  <c:v>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530</c:v>
                </c:pt>
                <c:pt idx="5">
                  <c:v>530</c:v>
                </c:pt>
                <c:pt idx="6">
                  <c:v>530</c:v>
                </c:pt>
                <c:pt idx="7">
                  <c:v>950</c:v>
                </c:pt>
                <c:pt idx="8">
                  <c:v>950</c:v>
                </c:pt>
                <c:pt idx="9">
                  <c:v>950</c:v>
                </c:pt>
                <c:pt idx="10">
                  <c:v>1900</c:v>
                </c:pt>
              </c:numCache>
            </c:numRef>
          </c:cat>
          <c:val>
            <c:numRef>
              <c:f>'Pseudo Cost Curve'!$P$16:$P$2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;[Red]\-&quot;$&quot;#,##0.00">
                  <c:v>33.659999999999997</c:v>
                </c:pt>
                <c:pt idx="10" formatCode="&quot;$&quot;#,##0.00;[Red]\-&quot;$&quot;#,##0.00">
                  <c:v>33.65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A5-47A3-9AFF-6961F5A971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Pseudo Cost Curve'!$Q$16:$Q$26</c:f>
              <c:numCache>
                <c:formatCode>General</c:formatCode>
                <c:ptCount val="11"/>
                <c:pt idx="0">
                  <c:v>53.98</c:v>
                </c:pt>
                <c:pt idx="1">
                  <c:v>53.98</c:v>
                </c:pt>
                <c:pt idx="2">
                  <c:v>53.98</c:v>
                </c:pt>
                <c:pt idx="3">
                  <c:v>53.98</c:v>
                </c:pt>
                <c:pt idx="4">
                  <c:v>53.98</c:v>
                </c:pt>
                <c:pt idx="5">
                  <c:v>53.98</c:v>
                </c:pt>
                <c:pt idx="6">
                  <c:v>53.98</c:v>
                </c:pt>
                <c:pt idx="7">
                  <c:v>53.98</c:v>
                </c:pt>
                <c:pt idx="8">
                  <c:v>53.98</c:v>
                </c:pt>
                <c:pt idx="9">
                  <c:v>53.98</c:v>
                </c:pt>
                <c:pt idx="10">
                  <c:v>53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A5-47A3-9AFF-6961F5A971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midCat"/>
      </c:valAx>
      <c:valAx>
        <c:axId val="448229256"/>
        <c:scaling>
          <c:orientation val="minMax"/>
          <c:max val="60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layout>
            <c:manualLayout>
              <c:xMode val="edge"/>
              <c:yMode val="edge"/>
              <c:x val="0.97407762697202616"/>
              <c:y val="0.260129037501800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  <c:majorUnit val="10"/>
      </c:valAx>
      <c:catAx>
        <c:axId val="44822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62-4361-9DE2-88EBB91D47C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EBIT!$Y$36:$Y$39</c:f>
              <c:numCache>
                <c:formatCode>General</c:formatCode>
                <c:ptCount val="4"/>
                <c:pt idx="0">
                  <c:v>46.2</c:v>
                </c:pt>
                <c:pt idx="1">
                  <c:v>108.2</c:v>
                </c:pt>
                <c:pt idx="2">
                  <c:v>-32.5</c:v>
                </c:pt>
                <c:pt idx="3">
                  <c:v>12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62-4361-9DE2-88EBB91D47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"/>
        <c:axId val="268540288"/>
        <c:axId val="110928880"/>
      </c:barChart>
      <c:catAx>
        <c:axId val="268540288"/>
        <c:scaling>
          <c:orientation val="maxMin"/>
        </c:scaling>
        <c:delete val="1"/>
        <c:axPos val="r"/>
        <c:majorTickMark val="out"/>
        <c:minorTickMark val="none"/>
        <c:tickLblPos val="nextTo"/>
        <c:crossAx val="110928880"/>
        <c:crosses val="autoZero"/>
        <c:auto val="1"/>
        <c:lblAlgn val="ctr"/>
        <c:lblOffset val="100"/>
        <c:noMultiLvlLbl val="0"/>
      </c:catAx>
      <c:valAx>
        <c:axId val="11092888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268540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EBIT!$W$43:$W$46</c:f>
              <c:numCache>
                <c:formatCode>0.0</c:formatCode>
                <c:ptCount val="4"/>
                <c:pt idx="0">
                  <c:v>-4.2936905200000002</c:v>
                </c:pt>
                <c:pt idx="1">
                  <c:v>-4.7880925399999992</c:v>
                </c:pt>
                <c:pt idx="2">
                  <c:v>-5.4311948699999997</c:v>
                </c:pt>
                <c:pt idx="3">
                  <c:v>-14.5129779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8E-4EF9-AFFB-3BB44AA65EB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"/>
        <c:axId val="268540288"/>
        <c:axId val="110928880"/>
      </c:barChart>
      <c:catAx>
        <c:axId val="268540288"/>
        <c:scaling>
          <c:orientation val="maxMin"/>
        </c:scaling>
        <c:delete val="1"/>
        <c:axPos val="l"/>
        <c:majorTickMark val="out"/>
        <c:minorTickMark val="none"/>
        <c:tickLblPos val="nextTo"/>
        <c:crossAx val="110928880"/>
        <c:crosses val="autoZero"/>
        <c:auto val="1"/>
        <c:lblAlgn val="ctr"/>
        <c:lblOffset val="100"/>
        <c:noMultiLvlLbl val="0"/>
      </c:catAx>
      <c:valAx>
        <c:axId val="110928880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268540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EBIT!$W$53:$W$56</c:f>
              <c:numCache>
                <c:formatCode>0.0</c:formatCode>
                <c:ptCount val="4"/>
                <c:pt idx="0">
                  <c:v>-20.564736488800023</c:v>
                </c:pt>
                <c:pt idx="1">
                  <c:v>-66.555644321599999</c:v>
                </c:pt>
                <c:pt idx="2">
                  <c:v>-27.769309657699992</c:v>
                </c:pt>
                <c:pt idx="3">
                  <c:v>-114.8896904680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6-4906-9016-F985EA6191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"/>
        <c:axId val="268540288"/>
        <c:axId val="110928880"/>
      </c:barChart>
      <c:catAx>
        <c:axId val="268540288"/>
        <c:scaling>
          <c:orientation val="maxMin"/>
        </c:scaling>
        <c:delete val="1"/>
        <c:axPos val="l"/>
        <c:majorTickMark val="out"/>
        <c:minorTickMark val="none"/>
        <c:tickLblPos val="nextTo"/>
        <c:crossAx val="110928880"/>
        <c:crosses val="autoZero"/>
        <c:auto val="1"/>
        <c:lblAlgn val="ctr"/>
        <c:lblOffset val="100"/>
        <c:noMultiLvlLbl val="0"/>
      </c:catAx>
      <c:valAx>
        <c:axId val="110928880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268540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EBIT!$W$59</c:f>
              <c:numCache>
                <c:formatCode>0.0</c:formatCode>
                <c:ptCount val="1"/>
                <c:pt idx="0">
                  <c:v>30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0A-4DF6-A8A6-C17659E118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9"/>
        <c:axId val="268540288"/>
        <c:axId val="110928880"/>
      </c:barChart>
      <c:catAx>
        <c:axId val="268540288"/>
        <c:scaling>
          <c:orientation val="minMax"/>
        </c:scaling>
        <c:delete val="1"/>
        <c:axPos val="l"/>
        <c:majorTickMark val="none"/>
        <c:minorTickMark val="none"/>
        <c:tickLblPos val="nextTo"/>
        <c:crossAx val="110928880"/>
        <c:crosses val="autoZero"/>
        <c:auto val="1"/>
        <c:lblAlgn val="ctr"/>
        <c:lblOffset val="100"/>
        <c:noMultiLvlLbl val="0"/>
      </c:catAx>
      <c:valAx>
        <c:axId val="110928880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268540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Revenue Actual vs Forecast [Overall]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7:$N$7</c:f>
              <c:numCache>
                <c:formatCode>"$"\ 0.0\ "M"</c:formatCode>
                <c:ptCount val="12"/>
                <c:pt idx="0">
                  <c:v>42.237583579999999</c:v>
                </c:pt>
                <c:pt idx="1">
                  <c:v>37.982978340000003</c:v>
                </c:pt>
                <c:pt idx="2">
                  <c:v>39.632563370000007</c:v>
                </c:pt>
                <c:pt idx="3">
                  <c:v>33.609667189999996</c:v>
                </c:pt>
                <c:pt idx="4">
                  <c:v>39.171934289999996</c:v>
                </c:pt>
                <c:pt idx="5">
                  <c:v>39.713244680000003</c:v>
                </c:pt>
                <c:pt idx="6">
                  <c:v>21.155639609999998</c:v>
                </c:pt>
                <c:pt idx="7">
                  <c:v>20.613592609999998</c:v>
                </c:pt>
                <c:pt idx="8">
                  <c:v>21.458206150000002</c:v>
                </c:pt>
                <c:pt idx="9">
                  <c:v>17.841827610000003</c:v>
                </c:pt>
                <c:pt idx="10">
                  <c:v>43.12089958</c:v>
                </c:pt>
                <c:pt idx="11">
                  <c:v>46.20005301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08-439B-9965-C1B85A137F16}"/>
            </c:ext>
          </c:extLst>
        </c:ser>
        <c:ser>
          <c:idx val="1"/>
          <c:order val="1"/>
          <c:tx>
            <c:v>Actual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41:$N$41</c:f>
              <c:numCache>
                <c:formatCode>"$"\ 0.0\ "M"</c:formatCode>
                <c:ptCount val="12"/>
                <c:pt idx="0">
                  <c:v>43.177586470000001</c:v>
                </c:pt>
                <c:pt idx="1">
                  <c:v>41.352612919999999</c:v>
                </c:pt>
                <c:pt idx="2">
                  <c:v>41.06130168</c:v>
                </c:pt>
                <c:pt idx="3">
                  <c:v>37.704400920000005</c:v>
                </c:pt>
                <c:pt idx="4">
                  <c:v>37.987218090000006</c:v>
                </c:pt>
                <c:pt idx="5">
                  <c:v>37.884541239999997</c:v>
                </c:pt>
                <c:pt idx="6">
                  <c:v>54.693279079999996</c:v>
                </c:pt>
                <c:pt idx="7">
                  <c:v>50.838283929999996</c:v>
                </c:pt>
                <c:pt idx="8">
                  <c:v>50.128489950000002</c:v>
                </c:pt>
                <c:pt idx="9">
                  <c:v>43.751729420000004</c:v>
                </c:pt>
                <c:pt idx="10">
                  <c:v>42.181248700000005</c:v>
                </c:pt>
                <c:pt idx="11">
                  <c:v>43.90672997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08-439B-9965-C1B85A137F1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aseline="0"/>
                  <a:t>Revenue $(M)</a:t>
                </a:r>
                <a:endParaRPr lang="en-AU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\ 0.0\ &quot;M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COGS Actual vs Forecast [Overall] </a:t>
            </a:r>
          </a:p>
        </c:rich>
      </c:tx>
      <c:layout>
        <c:manualLayout>
          <c:xMode val="edge"/>
          <c:yMode val="edge"/>
          <c:x val="0.28082418722701824"/>
          <c:y val="2.50831459212423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50132271661423"/>
          <c:y val="2.7326549959225073E-2"/>
          <c:w val="0.87983650316187711"/>
          <c:h val="0.81760489154591787"/>
        </c:manualLayout>
      </c:layout>
      <c:lineChart>
        <c:grouping val="standard"/>
        <c:varyColors val="0"/>
        <c:ser>
          <c:idx val="0"/>
          <c:order val="0"/>
          <c:tx>
            <c:v>Forecast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10:$N$10</c:f>
              <c:numCache>
                <c:formatCode>"$"\ 0.00\ "M"</c:formatCode>
                <c:ptCount val="12"/>
                <c:pt idx="0">
                  <c:v>0.79308944999999997</c:v>
                </c:pt>
                <c:pt idx="1">
                  <c:v>0.70489305000000002</c:v>
                </c:pt>
                <c:pt idx="2">
                  <c:v>0.97007038999999995</c:v>
                </c:pt>
                <c:pt idx="3">
                  <c:v>1.3354955999999998</c:v>
                </c:pt>
                <c:pt idx="4">
                  <c:v>0.98064750000000001</c:v>
                </c:pt>
                <c:pt idx="5">
                  <c:v>2.5210527199999997</c:v>
                </c:pt>
                <c:pt idx="6">
                  <c:v>2.5272687199999999</c:v>
                </c:pt>
                <c:pt idx="7">
                  <c:v>4.10501088</c:v>
                </c:pt>
                <c:pt idx="8">
                  <c:v>4.10501088</c:v>
                </c:pt>
                <c:pt idx="9">
                  <c:v>0.7300719</c:v>
                </c:pt>
                <c:pt idx="10">
                  <c:v>0.78380669999999997</c:v>
                </c:pt>
                <c:pt idx="11">
                  <c:v>0.8125325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5C-41BD-B786-CCA569B9DC52}"/>
            </c:ext>
          </c:extLst>
        </c:ser>
        <c:ser>
          <c:idx val="1"/>
          <c:order val="1"/>
          <c:tx>
            <c:v>Actual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(2)'!$C$2:$N$2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'EBIT (2)'!$C$44:$N$44</c:f>
              <c:numCache>
                <c:formatCode>"$"\ 0.00\ "M"</c:formatCode>
                <c:ptCount val="12"/>
                <c:pt idx="0">
                  <c:v>0.84816717999999991</c:v>
                </c:pt>
                <c:pt idx="1">
                  <c:v>0.96636823999999999</c:v>
                </c:pt>
                <c:pt idx="2">
                  <c:v>9.2121910000000001E-2</c:v>
                </c:pt>
                <c:pt idx="3">
                  <c:v>9.7869549999999986E-2</c:v>
                </c:pt>
                <c:pt idx="4">
                  <c:v>0.15655042999999999</c:v>
                </c:pt>
                <c:pt idx="5">
                  <c:v>0.69357466999999995</c:v>
                </c:pt>
                <c:pt idx="6">
                  <c:v>0.53680770999999994</c:v>
                </c:pt>
                <c:pt idx="7">
                  <c:v>1.0069753100000001</c:v>
                </c:pt>
                <c:pt idx="8">
                  <c:v>0.48981601000000002</c:v>
                </c:pt>
                <c:pt idx="9">
                  <c:v>0.34688189000000003</c:v>
                </c:pt>
                <c:pt idx="10">
                  <c:v>0.48960513</c:v>
                </c:pt>
                <c:pt idx="11">
                  <c:v>0.13123442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5C-41BD-B786-CCA569B9DC5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34211672"/>
        <c:axId val="634212000"/>
      </c:lineChart>
      <c:catAx>
        <c:axId val="63421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2000"/>
        <c:crosses val="autoZero"/>
        <c:auto val="1"/>
        <c:lblAlgn val="ctr"/>
        <c:lblOffset val="100"/>
        <c:noMultiLvlLbl val="0"/>
      </c:catAx>
      <c:valAx>
        <c:axId val="6342120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/>
                  <a:t>EBITDA</a:t>
                </a:r>
                <a:r>
                  <a:rPr lang="en-AU" baseline="0"/>
                  <a:t> $(M)</a:t>
                </a:r>
                <a:endParaRPr lang="en-AU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\ 0.00\ &quot;M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11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23</cdr:x>
      <cdr:y>0.43689</cdr:y>
    </cdr:from>
    <cdr:to>
      <cdr:x>0.17875</cdr:x>
      <cdr:y>0.6620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16591C0F-0A48-441D-B865-36DD1B60BFC6}"/>
            </a:ext>
          </a:extLst>
        </cdr:cNvPr>
        <cdr:cNvSpPr txBox="1"/>
      </cdr:nvSpPr>
      <cdr:spPr>
        <a:xfrm xmlns:a="http://schemas.openxmlformats.org/drawingml/2006/main">
          <a:off x="976312" y="1774031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10806</cdr:x>
      <cdr:y>0.56004</cdr:y>
    </cdr:from>
    <cdr:to>
      <cdr:x>0.19451</cdr:x>
      <cdr:y>0.78523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2D2506B1-F7E3-4D0A-9BD9-770319F49379}"/>
            </a:ext>
          </a:extLst>
        </cdr:cNvPr>
        <cdr:cNvSpPr txBox="1"/>
      </cdr:nvSpPr>
      <cdr:spPr>
        <a:xfrm xmlns:a="http://schemas.openxmlformats.org/drawingml/2006/main">
          <a:off x="1143000" y="227409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marL="0" marR="0" lvl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100" b="1" i="0" baseline="0">
              <a:effectLst/>
              <a:latin typeface="+mn-lt"/>
              <a:ea typeface="+mn-ea"/>
              <a:cs typeface="+mn-cs"/>
            </a:rPr>
            <a:t>Jutik</a:t>
          </a:r>
          <a:br>
            <a:rPr lang="en-US" sz="1100" b="1" i="0" baseline="0">
              <a:effectLst/>
              <a:latin typeface="+mn-lt"/>
              <a:ea typeface="+mn-ea"/>
              <a:cs typeface="+mn-cs"/>
            </a:rPr>
          </a:br>
          <a:r>
            <a:rPr lang="en-US" sz="1100" b="1" i="0" baseline="0">
              <a:effectLst/>
              <a:latin typeface="+mn-lt"/>
              <a:ea typeface="+mn-ea"/>
              <a:cs typeface="+mn-cs"/>
            </a:rPr>
            <a:t>$22.24 M/L</a:t>
          </a:r>
          <a:endParaRPr lang="en-US">
            <a:effectLst/>
          </a:endParaRPr>
        </a:p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1837</cdr:x>
      <cdr:y>0.54538</cdr:y>
    </cdr:from>
    <cdr:to>
      <cdr:x>0.30482</cdr:x>
      <cdr:y>0.77057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A8DBA455-FA64-486D-AABE-8981170371C2}"/>
            </a:ext>
          </a:extLst>
        </cdr:cNvPr>
        <cdr:cNvSpPr txBox="1"/>
      </cdr:nvSpPr>
      <cdr:spPr>
        <a:xfrm xmlns:a="http://schemas.openxmlformats.org/drawingml/2006/main">
          <a:off x="2309812" y="221456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marL="0" marR="0" lvl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>
              <a:effectLst/>
            </a:rPr>
            <a:t>Kootha</a:t>
          </a:r>
          <a:br>
            <a:rPr lang="en-US" sz="1100" b="1" i="0" baseline="0">
              <a:effectLst/>
              <a:latin typeface="+mn-lt"/>
              <a:ea typeface="+mn-ea"/>
              <a:cs typeface="+mn-cs"/>
            </a:rPr>
          </a:br>
          <a:r>
            <a:rPr lang="en-US" sz="1100" b="1" i="0" baseline="0">
              <a:effectLst/>
              <a:latin typeface="+mn-lt"/>
              <a:ea typeface="+mn-ea"/>
              <a:cs typeface="+mn-cs"/>
            </a:rPr>
            <a:t>$22.43 M/L</a:t>
          </a:r>
          <a:endParaRPr lang="en-US">
            <a:effectLst/>
          </a:endParaRPr>
        </a:p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38609</cdr:x>
      <cdr:y>0.22871</cdr:y>
    </cdr:from>
    <cdr:to>
      <cdr:x>0.47253</cdr:x>
      <cdr:y>0.4539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090AA217-94BF-4F6F-86B0-EFCE8337403E}"/>
            </a:ext>
          </a:extLst>
        </cdr:cNvPr>
        <cdr:cNvSpPr txBox="1"/>
      </cdr:nvSpPr>
      <cdr:spPr>
        <a:xfrm xmlns:a="http://schemas.openxmlformats.org/drawingml/2006/main">
          <a:off x="4083843" y="92868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rtl="0"/>
          <a:r>
            <a:rPr lang="en-US" sz="1100" b="1" i="0" baseline="0">
              <a:effectLst/>
              <a:latin typeface="+mn-lt"/>
              <a:ea typeface="+mn-ea"/>
              <a:cs typeface="+mn-cs"/>
            </a:rPr>
            <a:t>Surjek</a:t>
          </a:r>
          <a:br>
            <a:rPr lang="en-US" sz="1100" b="1" i="0" baseline="0">
              <a:effectLst/>
              <a:latin typeface="+mn-lt"/>
              <a:ea typeface="+mn-ea"/>
              <a:cs typeface="+mn-cs"/>
            </a:rPr>
          </a:br>
          <a:r>
            <a:rPr lang="en-US" sz="1100" b="1" i="0" baseline="0">
              <a:effectLst/>
              <a:latin typeface="+mn-lt"/>
              <a:ea typeface="+mn-ea"/>
              <a:cs typeface="+mn-cs"/>
            </a:rPr>
            <a:t>$48.13</a:t>
          </a:r>
          <a:endParaRPr lang="en-US">
            <a:effectLst/>
          </a:endParaRPr>
        </a:p>
      </cdr:txBody>
    </cdr:sp>
  </cdr:relSizeAnchor>
  <cdr:relSizeAnchor xmlns:cdr="http://schemas.openxmlformats.org/drawingml/2006/chartDrawing">
    <cdr:from>
      <cdr:x>0.63597</cdr:x>
      <cdr:y>0.41636</cdr:y>
    </cdr:from>
    <cdr:to>
      <cdr:x>0.72242</cdr:x>
      <cdr:y>0.64155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57A3FEF5-1934-4C46-A2EC-62BF07A51F28}"/>
            </a:ext>
          </a:extLst>
        </cdr:cNvPr>
        <cdr:cNvSpPr txBox="1"/>
      </cdr:nvSpPr>
      <cdr:spPr>
        <a:xfrm xmlns:a="http://schemas.openxmlformats.org/drawingml/2006/main">
          <a:off x="6727031" y="169068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marL="0" marR="0" lvl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100" b="1" i="0" baseline="0">
              <a:effectLst/>
              <a:latin typeface="+mn-lt"/>
              <a:ea typeface="+mn-ea"/>
              <a:cs typeface="+mn-cs"/>
            </a:rPr>
            <a:t>Overall</a:t>
          </a:r>
          <a:br>
            <a:rPr lang="en-US" sz="1100" b="1" i="0" baseline="0">
              <a:effectLst/>
              <a:latin typeface="+mn-lt"/>
              <a:ea typeface="+mn-ea"/>
              <a:cs typeface="+mn-cs"/>
            </a:rPr>
          </a:br>
          <a:r>
            <a:rPr lang="en-US" sz="1100" b="1" i="0" baseline="0">
              <a:effectLst/>
              <a:latin typeface="+mn-lt"/>
              <a:ea typeface="+mn-ea"/>
              <a:cs typeface="+mn-cs"/>
            </a:rPr>
            <a:t>$33.66</a:t>
          </a:r>
          <a:endParaRPr lang="en-US">
            <a:effectLst/>
          </a:endParaRPr>
        </a:p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30951</cdr:x>
      <cdr:y>0.06055</cdr:y>
    </cdr:from>
    <cdr:to>
      <cdr:x>0.67936</cdr:x>
      <cdr:y>0.4644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1C096AC-CCE6-4C4F-9EC0-BF92260B36B1}"/>
            </a:ext>
          </a:extLst>
        </cdr:cNvPr>
        <cdr:cNvSpPr txBox="1"/>
      </cdr:nvSpPr>
      <cdr:spPr>
        <a:xfrm xmlns:a="http://schemas.openxmlformats.org/drawingml/2006/main">
          <a:off x="2426374" y="137067"/>
          <a:ext cx="2899318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 rtl="0"/>
          <a:r>
            <a:rPr lang="en-AU" dirty="0"/>
            <a:t>Actual    $/ML</a:t>
          </a:r>
          <a:r>
            <a:rPr lang="en-AU" baseline="0" dirty="0"/>
            <a:t> versus Market Price</a:t>
          </a:r>
          <a:endParaRPr lang="en-AU" dirty="0"/>
        </a:p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221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3659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Cost-Curve slide</a:t>
            </a:r>
            <a:r>
              <a:rPr lang="en-US" sz="1600" dirty="0"/>
              <a:t> shows the Cost-to-Produce for both July 2013 – June 2014 alongside the July 2014 – June 2015 Cost-to-Produce figures alongside the respective weighted $/ML prices.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recommendations you wish to provide regarding the economic dispatch of the units to be most cost effective with respect to the $/ML Price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Plot the Overall Cost Curve for July 2013-2014 through July 2014-2015.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Ensure that the Cost-Curve is arranged from Least Expensive to Most Expensive as per the Exemplar provided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alculate the $/ML Price for both 2013-2014 Data (provided) as well as the 2014-2015 $/ML Market Data (as per the Economics OWM Data) and plot this in the Cost Curve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/>
              <a:t>slide 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EBIT situation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EBIT Template, highlight the overall Revenue, COGS and Operational Expenses Variances comparing 2013-2014 Actuals vs 2014-2015 Forecast</a:t>
            </a:r>
            <a:endParaRPr lang="en-US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venue, COGS and Operational Expenses</a:t>
            </a:r>
            <a:endParaRPr dirty="0"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Revenue </a:t>
            </a:r>
            <a:r>
              <a:rPr lang="en-US" sz="1600" dirty="0"/>
              <a:t>slide 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Revenue situation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Revenue Template, highlight the overall Revenue figures comparing 2013-2014 Actuals vs.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Include two to three insights explaining the discrepancy between Actuals and Forecast for Revenue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COGS</a:t>
            </a:r>
            <a:r>
              <a:rPr lang="en-US" sz="1600" dirty="0"/>
              <a:t> 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COGS situation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Revenue Template, highlight the overall COGS figures comparing 2013-2014 Actuals vs.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Include two to three insights explaining the discrepancy between Actuals and Forecast for COGS</a:t>
            </a:r>
            <a:endParaRPr dirty="0"/>
          </a:p>
        </p:txBody>
      </p:sp>
      <p:sp>
        <p:nvSpPr>
          <p:cNvPr id="190" name="Google Shape;19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7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Operating Expenses situation </a:t>
            </a:r>
            <a:r>
              <a:rPr lang="en-US" sz="1600" dirty="0"/>
              <a:t>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Overall Operating Expenses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Revenue Template, highlight the Overall Operating Expenses  comparing 2013-2014 Actuals vs.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Include two to three insights explaining the discrepancy between Actuals and Forecast for Overall Expense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3" name="Google Shape;2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0463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Southern Water Corp </a:t>
            </a:r>
            <a:r>
              <a:rPr lang="en-US"/>
              <a:t>– Executive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6-25-2020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Xiangning Bu</a:t>
            </a:r>
            <a:endParaRPr sz="16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208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11E602E-3CAB-4F0C-A54E-CD548CD236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1756954"/>
              </p:ext>
            </p:extLst>
          </p:nvPr>
        </p:nvGraphicFramePr>
        <p:xfrm>
          <a:off x="171439" y="949994"/>
          <a:ext cx="8729384" cy="6008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" r:id="rId5" imgW="1587" imgH="1587" progId="TCLayout.ActiveDocument.1">
                  <p:embed/>
                </p:oleObj>
              </mc:Choice>
              <mc:Fallback>
                <p:oleObj r:id="rId5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66444" y="146641"/>
            <a:ext cx="86184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400" dirty="0">
                <a:solidFill>
                  <a:srgbClr val="002060"/>
                </a:solidFill>
              </a:rPr>
              <a:t>Four months maintenance event reduced water production by 1968 ML, with elevated COGS and operation expenses (115M), causing a $38.0 production cost($/ML) increase for the 2014-2015 period.</a:t>
            </a:r>
            <a:endParaRPr sz="1400" dirty="0">
              <a:solidFill>
                <a:srgbClr val="002060"/>
              </a:solidFill>
            </a:endParaRPr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Trees in the Appendix for what Cost </a:t>
            </a:r>
            <a:r>
              <a:rPr lang="en-US" sz="8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entres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/ Cost Elements are included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</a:t>
            </a: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²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Water Production actuals have been sourced from the _____ tab in the _____ file.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9F83B93-AE1D-427F-96F4-A622099F6191}"/>
              </a:ext>
            </a:extLst>
          </p:cNvPr>
          <p:cNvGrpSpPr/>
          <p:nvPr/>
        </p:nvGrpSpPr>
        <p:grpSpPr>
          <a:xfrm>
            <a:off x="1321188" y="1581576"/>
            <a:ext cx="3701484" cy="1147294"/>
            <a:chOff x="10026276" y="943348"/>
            <a:chExt cx="3701484" cy="1147294"/>
          </a:xfrm>
        </p:grpSpPr>
        <p:sp>
          <p:nvSpPr>
            <p:cNvPr id="52" name="Google Shape;52;p2"/>
            <p:cNvSpPr txBox="1"/>
            <p:nvPr/>
          </p:nvSpPr>
          <p:spPr>
            <a:xfrm>
              <a:off x="10026276" y="1218321"/>
              <a:ext cx="1850737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otal Overheads¹ 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$241 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53;p2"/>
            <p:cNvSpPr txBox="1"/>
            <p:nvPr/>
          </p:nvSpPr>
          <p:spPr>
            <a:xfrm>
              <a:off x="10026277" y="1458279"/>
              <a:ext cx="185073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Water Prod. ² 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– 7458 ML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2"/>
            <p:cNvSpPr txBox="1"/>
            <p:nvPr/>
          </p:nvSpPr>
          <p:spPr>
            <a:xfrm>
              <a:off x="10026277" y="1710515"/>
              <a:ext cx="185073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$/ML 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– $33.66 / ML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Google Shape;55;p2"/>
            <p:cNvSpPr/>
            <p:nvPr/>
          </p:nvSpPr>
          <p:spPr>
            <a:xfrm>
              <a:off x="10098060" y="1146242"/>
              <a:ext cx="3629700" cy="944400"/>
            </a:xfrm>
            <a:prstGeom prst="rect">
              <a:avLst/>
            </a:prstGeom>
            <a:noFill/>
            <a:ln w="12700" cap="flat" cmpd="sng">
              <a:solidFill>
                <a:srgbClr val="002060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8" name="Google Shape;58;p2"/>
            <p:cNvCxnSpPr>
              <a:stCxn id="55" idx="0"/>
              <a:endCxn id="55" idx="2"/>
            </p:cNvCxnSpPr>
            <p:nvPr/>
          </p:nvCxnSpPr>
          <p:spPr>
            <a:xfrm>
              <a:off x="11912910" y="1146242"/>
              <a:ext cx="0" cy="944400"/>
            </a:xfrm>
            <a:prstGeom prst="straightConnector1">
              <a:avLst/>
            </a:prstGeom>
            <a:noFill/>
            <a:ln w="12700" cap="flat" cmpd="sng">
              <a:solidFill>
                <a:srgbClr val="002060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59" name="Google Shape;59;p2"/>
            <p:cNvSpPr txBox="1"/>
            <p:nvPr/>
          </p:nvSpPr>
          <p:spPr>
            <a:xfrm>
              <a:off x="11816407" y="1207765"/>
              <a:ext cx="1850737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otal Overheads 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$356 M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60;p2"/>
            <p:cNvSpPr txBox="1"/>
            <p:nvPr/>
          </p:nvSpPr>
          <p:spPr>
            <a:xfrm>
              <a:off x="11816408" y="1447723"/>
              <a:ext cx="185073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Water Prod.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– 5490 ML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61;p2"/>
            <p:cNvSpPr txBox="1"/>
            <p:nvPr/>
          </p:nvSpPr>
          <p:spPr>
            <a:xfrm>
              <a:off x="11816408" y="1699959"/>
              <a:ext cx="1850735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10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$/ML </a:t>
              </a:r>
              <a:r>
                <a:rPr lang="en-US" sz="1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– $71.68 / ML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62;p2"/>
            <p:cNvSpPr/>
            <p:nvPr/>
          </p:nvSpPr>
          <p:spPr>
            <a:xfrm>
              <a:off x="10098051" y="973555"/>
              <a:ext cx="641400" cy="217200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 w="9525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US" sz="1050" b="1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ctual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63;p2"/>
            <p:cNvSpPr/>
            <p:nvPr/>
          </p:nvSpPr>
          <p:spPr>
            <a:xfrm>
              <a:off x="11877012" y="943348"/>
              <a:ext cx="641444" cy="217172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 w="9525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n-US" sz="1050" b="1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Bud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4" name="Google Shape;64;p2"/>
          <p:cNvSpPr txBox="1"/>
          <p:nvPr/>
        </p:nvSpPr>
        <p:spPr>
          <a:xfrm>
            <a:off x="1321188" y="4827406"/>
            <a:ext cx="7536547" cy="1323399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s: Zero revenue across two major unit due to maintenance contributed to reduction of overall yearly revenue by </a:t>
            </a:r>
            <a:r>
              <a:rPr lang="en-US" sz="1000" b="1" dirty="0">
                <a:solidFill>
                  <a:schemeClr val="dk1"/>
                </a:solidFill>
              </a:rPr>
              <a:t>115M for 2014-2015 period. </a:t>
            </a:r>
            <a:endParaRPr sz="1000" b="1" dirty="0">
              <a:solidFill>
                <a:schemeClr val="dk1"/>
              </a:solidFill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erating Expenses: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st of Goods Sold: </a:t>
            </a:r>
            <a:r>
              <a:rPr lang="en-US" sz="1000" b="1" dirty="0">
                <a:solidFill>
                  <a:srgbClr val="002060"/>
                </a:solidFill>
              </a:rPr>
              <a:t>COGS is suggested to climb up (4.11M at peak) until next </a:t>
            </a:r>
            <a:r>
              <a:rPr lang="en-US" sz="1000" dirty="0">
                <a:solidFill>
                  <a:srgbClr val="002060"/>
                </a:solidFill>
              </a:rPr>
              <a:t>March</a:t>
            </a:r>
            <a:r>
              <a:rPr lang="en-US" sz="1000" b="1" dirty="0">
                <a:solidFill>
                  <a:srgbClr val="002060"/>
                </a:solidFill>
              </a:rPr>
              <a:t> and drop down after the maintenance even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2"/>
          <p:cNvSpPr/>
          <p:nvPr/>
        </p:nvSpPr>
        <p:spPr>
          <a:xfrm>
            <a:off x="7973569" y="1704500"/>
            <a:ext cx="802247" cy="2796114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1321188" y="4626624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8484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/>
          <p:nvPr/>
        </p:nvSpPr>
        <p:spPr>
          <a:xfrm>
            <a:off x="278546" y="1290419"/>
            <a:ext cx="8586504" cy="4904927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 dirty="0">
                <a:solidFill>
                  <a:srgbClr val="002060"/>
                </a:solidFill>
              </a:rPr>
              <a:t>Observing the cost-curve reveals that the Cost-to-Produce weighted  price across all units dramatically increased  in July 2014- June 2015 compared to July 2013- June2014 </a:t>
            </a:r>
            <a:endParaRPr dirty="0">
              <a:solidFill>
                <a:schemeClr val="accent6"/>
              </a:solidFill>
            </a:endParaRPr>
          </a:p>
        </p:txBody>
      </p:sp>
      <p:sp>
        <p:nvSpPr>
          <p:cNvPr id="75" name="Google Shape;75;p8"/>
          <p:cNvSpPr txBox="1"/>
          <p:nvPr/>
        </p:nvSpPr>
        <p:spPr>
          <a:xfrm>
            <a:off x="187468" y="970500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seudo Cost Curve Highlighting Cost to Produce versus Market Price</a:t>
            </a:r>
            <a:endParaRPr sz="1196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8"/>
          <p:cNvSpPr/>
          <p:nvPr/>
        </p:nvSpPr>
        <p:spPr>
          <a:xfrm>
            <a:off x="278546" y="6308044"/>
            <a:ext cx="325121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Open Water Market Data (2013 – 2015)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78;p8"/>
          <p:cNvSpPr/>
          <p:nvPr/>
        </p:nvSpPr>
        <p:spPr>
          <a:xfrm>
            <a:off x="7067937" y="5622383"/>
            <a:ext cx="712913" cy="230045"/>
          </a:xfrm>
          <a:prstGeom prst="rect">
            <a:avLst/>
          </a:prstGeom>
          <a:solidFill>
            <a:srgbClr val="30539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8"/>
          <p:cNvSpPr/>
          <p:nvPr/>
        </p:nvSpPr>
        <p:spPr>
          <a:xfrm>
            <a:off x="1023325" y="5630348"/>
            <a:ext cx="712913" cy="230045"/>
          </a:xfrm>
          <a:prstGeom prst="rect">
            <a:avLst/>
          </a:prstGeom>
          <a:solidFill>
            <a:srgbClr val="BDC6E3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rgbClr val="1F3042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a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" name="Google Shape;80;p8"/>
          <p:cNvCxnSpPr/>
          <p:nvPr/>
        </p:nvCxnSpPr>
        <p:spPr>
          <a:xfrm>
            <a:off x="529732" y="5929991"/>
            <a:ext cx="8153160" cy="7814"/>
          </a:xfrm>
          <a:prstGeom prst="straightConnector1">
            <a:avLst/>
          </a:prstGeom>
          <a:noFill/>
          <a:ln w="38100" cap="flat" cmpd="sng">
            <a:solidFill>
              <a:srgbClr val="305391"/>
            </a:solidFill>
            <a:prstDash val="solid"/>
            <a:round/>
            <a:headEnd type="none" w="sm" len="sm"/>
            <a:tailEnd type="triangle" w="med" len="med"/>
          </a:ln>
        </p:spPr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3E3E6DE-7C1D-4205-A01C-0BDC6AB8E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027531"/>
              </p:ext>
            </p:extLst>
          </p:nvPr>
        </p:nvGraphicFramePr>
        <p:xfrm>
          <a:off x="385020" y="1302410"/>
          <a:ext cx="8297871" cy="2058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52E8629-53F5-43E2-963D-B44B392CC0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1202424"/>
              </p:ext>
            </p:extLst>
          </p:nvPr>
        </p:nvGraphicFramePr>
        <p:xfrm>
          <a:off x="657922" y="3384178"/>
          <a:ext cx="7839308" cy="226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3"/>
          <p:cNvSpPr/>
          <p:nvPr/>
        </p:nvSpPr>
        <p:spPr>
          <a:xfrm>
            <a:off x="171451" y="6420410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Source: Financial and operational data from Exemp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3"/>
          <p:cNvSpPr/>
          <p:nvPr/>
        </p:nvSpPr>
        <p:spPr>
          <a:xfrm>
            <a:off x="7580966" y="1005578"/>
            <a:ext cx="175309" cy="130317"/>
          </a:xfrm>
          <a:prstGeom prst="rect">
            <a:avLst/>
          </a:prstGeom>
          <a:solidFill>
            <a:srgbClr val="4F7E2C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"/>
          <p:cNvSpPr/>
          <p:nvPr/>
        </p:nvSpPr>
        <p:spPr>
          <a:xfrm>
            <a:off x="6508953" y="1005578"/>
            <a:ext cx="175309" cy="130317"/>
          </a:xfrm>
          <a:prstGeom prst="rect">
            <a:avLst/>
          </a:prstGeom>
          <a:solidFill>
            <a:srgbClr val="F42F2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"/>
          <p:cNvSpPr/>
          <p:nvPr/>
        </p:nvSpPr>
        <p:spPr>
          <a:xfrm>
            <a:off x="7805921" y="1002475"/>
            <a:ext cx="673305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osi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3"/>
          <p:cNvSpPr/>
          <p:nvPr/>
        </p:nvSpPr>
        <p:spPr>
          <a:xfrm>
            <a:off x="6733906" y="1002475"/>
            <a:ext cx="747772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Nega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" name="Google Shape;163;p3"/>
          <p:cNvSpPr/>
          <p:nvPr/>
        </p:nvSpPr>
        <p:spPr>
          <a:xfrm>
            <a:off x="171450" y="6314520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1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¹ EBIT is calculated as Revenues – COGS – Operational Expens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283563" y="152259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ignificant EBIT reduction in the 2014-2015 forecast, caused by boosted COGS and Overheads  across all units and dropped revenue in two major unit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60;p2">
            <a:extLst>
              <a:ext uri="{FF2B5EF4-FFF2-40B4-BE49-F238E27FC236}">
                <a16:creationId xmlns:a16="http://schemas.microsoft.com/office/drawing/2014/main" id="{3CE3235D-0619-4FFC-8109-8EB3AB234B23}"/>
              </a:ext>
            </a:extLst>
          </p:cNvPr>
          <p:cNvSpPr/>
          <p:nvPr/>
        </p:nvSpPr>
        <p:spPr>
          <a:xfrm>
            <a:off x="195879" y="1205717"/>
            <a:ext cx="8594109" cy="476724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300" tIns="44650" rIns="89300" bIns="446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97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6" name="Google Shape;62;p2">
            <a:extLst>
              <a:ext uri="{FF2B5EF4-FFF2-40B4-BE49-F238E27FC236}">
                <a16:creationId xmlns:a16="http://schemas.microsoft.com/office/drawing/2014/main" id="{17827D87-FD7F-42FF-B879-993C3A297064}"/>
              </a:ext>
            </a:extLst>
          </p:cNvPr>
          <p:cNvCxnSpPr/>
          <p:nvPr/>
        </p:nvCxnSpPr>
        <p:spPr>
          <a:xfrm>
            <a:off x="223018" y="1461948"/>
            <a:ext cx="724333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1" name="Google Shape;67;p2">
            <a:extLst>
              <a:ext uri="{FF2B5EF4-FFF2-40B4-BE49-F238E27FC236}">
                <a16:creationId xmlns:a16="http://schemas.microsoft.com/office/drawing/2014/main" id="{A38970AA-E531-464C-9F61-D9C51AAB3CF2}"/>
              </a:ext>
            </a:extLst>
          </p:cNvPr>
          <p:cNvSpPr txBox="1"/>
          <p:nvPr/>
        </p:nvSpPr>
        <p:spPr>
          <a:xfrm>
            <a:off x="223016" y="1266039"/>
            <a:ext cx="7243336" cy="1841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97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Actual vs Budget PL variances, </a:t>
            </a:r>
            <a:r>
              <a:rPr lang="en-US" sz="1197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/>
          </a:p>
        </p:txBody>
      </p:sp>
      <p:cxnSp>
        <p:nvCxnSpPr>
          <p:cNvPr id="182" name="Google Shape;68;p2">
            <a:extLst>
              <a:ext uri="{FF2B5EF4-FFF2-40B4-BE49-F238E27FC236}">
                <a16:creationId xmlns:a16="http://schemas.microsoft.com/office/drawing/2014/main" id="{07C09E9A-B28F-414A-8A52-084818A4DEEB}"/>
              </a:ext>
            </a:extLst>
          </p:cNvPr>
          <p:cNvCxnSpPr/>
          <p:nvPr/>
        </p:nvCxnSpPr>
        <p:spPr>
          <a:xfrm>
            <a:off x="236616" y="4433462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3" name="Google Shape;69;p2">
            <a:extLst>
              <a:ext uri="{FF2B5EF4-FFF2-40B4-BE49-F238E27FC236}">
                <a16:creationId xmlns:a16="http://schemas.microsoft.com/office/drawing/2014/main" id="{BF44388F-C2CA-4A5D-8C51-2E5C1E2DA0FE}"/>
              </a:ext>
            </a:extLst>
          </p:cNvPr>
          <p:cNvCxnSpPr/>
          <p:nvPr/>
        </p:nvCxnSpPr>
        <p:spPr>
          <a:xfrm>
            <a:off x="227292" y="3778459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4" name="Google Shape;70;p2">
            <a:extLst>
              <a:ext uri="{FF2B5EF4-FFF2-40B4-BE49-F238E27FC236}">
                <a16:creationId xmlns:a16="http://schemas.microsoft.com/office/drawing/2014/main" id="{E51EA368-0F6C-4A48-81CA-A5655E525B17}"/>
              </a:ext>
            </a:extLst>
          </p:cNvPr>
          <p:cNvCxnSpPr/>
          <p:nvPr/>
        </p:nvCxnSpPr>
        <p:spPr>
          <a:xfrm>
            <a:off x="227292" y="5088464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5" name="Google Shape;72;p2">
            <a:extLst>
              <a:ext uri="{FF2B5EF4-FFF2-40B4-BE49-F238E27FC236}">
                <a16:creationId xmlns:a16="http://schemas.microsoft.com/office/drawing/2014/main" id="{D6FACEBF-E8C2-4D8C-8CEE-62125CC073EE}"/>
              </a:ext>
            </a:extLst>
          </p:cNvPr>
          <p:cNvCxnSpPr>
            <a:cxnSpLocks/>
          </p:cNvCxnSpPr>
          <p:nvPr/>
        </p:nvCxnSpPr>
        <p:spPr>
          <a:xfrm>
            <a:off x="240574" y="5415965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86" name="Google Shape;73;p2">
            <a:extLst>
              <a:ext uri="{FF2B5EF4-FFF2-40B4-BE49-F238E27FC236}">
                <a16:creationId xmlns:a16="http://schemas.microsoft.com/office/drawing/2014/main" id="{A61AC2A8-8D86-40EB-B189-94363447083B}"/>
              </a:ext>
            </a:extLst>
          </p:cNvPr>
          <p:cNvCxnSpPr/>
          <p:nvPr/>
        </p:nvCxnSpPr>
        <p:spPr>
          <a:xfrm>
            <a:off x="227292" y="4760963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7" name="Google Shape;74;p2">
            <a:extLst>
              <a:ext uri="{FF2B5EF4-FFF2-40B4-BE49-F238E27FC236}">
                <a16:creationId xmlns:a16="http://schemas.microsoft.com/office/drawing/2014/main" id="{0C3A66C8-D4DB-4D2C-9D07-E5BEBBFEEC4A}"/>
              </a:ext>
            </a:extLst>
          </p:cNvPr>
          <p:cNvCxnSpPr/>
          <p:nvPr/>
        </p:nvCxnSpPr>
        <p:spPr>
          <a:xfrm>
            <a:off x="227292" y="2140953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8" name="Google Shape;75;p2">
            <a:extLst>
              <a:ext uri="{FF2B5EF4-FFF2-40B4-BE49-F238E27FC236}">
                <a16:creationId xmlns:a16="http://schemas.microsoft.com/office/drawing/2014/main" id="{E3AC2387-AAA3-444E-8ED9-D4A2853C73E7}"/>
              </a:ext>
            </a:extLst>
          </p:cNvPr>
          <p:cNvCxnSpPr/>
          <p:nvPr/>
        </p:nvCxnSpPr>
        <p:spPr>
          <a:xfrm>
            <a:off x="227292" y="1813452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89" name="Google Shape;76;p2">
            <a:extLst>
              <a:ext uri="{FF2B5EF4-FFF2-40B4-BE49-F238E27FC236}">
                <a16:creationId xmlns:a16="http://schemas.microsoft.com/office/drawing/2014/main" id="{1AEED8DF-BE82-44E4-8866-6452E31C2AB9}"/>
              </a:ext>
            </a:extLst>
          </p:cNvPr>
          <p:cNvCxnSpPr/>
          <p:nvPr/>
        </p:nvCxnSpPr>
        <p:spPr>
          <a:xfrm>
            <a:off x="227292" y="2795956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90" name="Google Shape;77;p2">
            <a:extLst>
              <a:ext uri="{FF2B5EF4-FFF2-40B4-BE49-F238E27FC236}">
                <a16:creationId xmlns:a16="http://schemas.microsoft.com/office/drawing/2014/main" id="{1F480E09-D349-45EE-A9F2-162E945FE6BC}"/>
              </a:ext>
            </a:extLst>
          </p:cNvPr>
          <p:cNvCxnSpPr/>
          <p:nvPr/>
        </p:nvCxnSpPr>
        <p:spPr>
          <a:xfrm>
            <a:off x="227292" y="2468455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91" name="Google Shape;78;p2">
            <a:extLst>
              <a:ext uri="{FF2B5EF4-FFF2-40B4-BE49-F238E27FC236}">
                <a16:creationId xmlns:a16="http://schemas.microsoft.com/office/drawing/2014/main" id="{ED3DF2F0-111E-44EA-9BF0-8093B4AF8789}"/>
              </a:ext>
            </a:extLst>
          </p:cNvPr>
          <p:cNvCxnSpPr/>
          <p:nvPr/>
        </p:nvCxnSpPr>
        <p:spPr>
          <a:xfrm>
            <a:off x="227292" y="3450958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92" name="Google Shape;79;p2">
            <a:extLst>
              <a:ext uri="{FF2B5EF4-FFF2-40B4-BE49-F238E27FC236}">
                <a16:creationId xmlns:a16="http://schemas.microsoft.com/office/drawing/2014/main" id="{53C06AA2-39AD-4AD6-873B-792CBA429050}"/>
              </a:ext>
            </a:extLst>
          </p:cNvPr>
          <p:cNvCxnSpPr/>
          <p:nvPr/>
        </p:nvCxnSpPr>
        <p:spPr>
          <a:xfrm>
            <a:off x="7570261" y="1461948"/>
            <a:ext cx="48593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Google Shape;80;p2">
            <a:extLst>
              <a:ext uri="{FF2B5EF4-FFF2-40B4-BE49-F238E27FC236}">
                <a16:creationId xmlns:a16="http://schemas.microsoft.com/office/drawing/2014/main" id="{095B1285-C5C2-41C1-B891-0DF59E23C265}"/>
              </a:ext>
            </a:extLst>
          </p:cNvPr>
          <p:cNvSpPr txBox="1"/>
          <p:nvPr/>
        </p:nvSpPr>
        <p:spPr>
          <a:xfrm>
            <a:off x="7632654" y="1569257"/>
            <a:ext cx="386828" cy="168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01.5</a:t>
            </a:r>
            <a:endParaRPr dirty="0"/>
          </a:p>
        </p:txBody>
      </p:sp>
      <p:sp>
        <p:nvSpPr>
          <p:cNvPr id="194" name="Google Shape;81;p2">
            <a:extLst>
              <a:ext uri="{FF2B5EF4-FFF2-40B4-BE49-F238E27FC236}">
                <a16:creationId xmlns:a16="http://schemas.microsoft.com/office/drawing/2014/main" id="{D479CDEC-9AA8-45CF-9F0B-BDA582BC81D3}"/>
              </a:ext>
            </a:extLst>
          </p:cNvPr>
          <p:cNvSpPr txBox="1"/>
          <p:nvPr/>
        </p:nvSpPr>
        <p:spPr>
          <a:xfrm>
            <a:off x="7632654" y="1895268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33.0</a:t>
            </a:r>
            <a:endParaRPr dirty="0"/>
          </a:p>
        </p:txBody>
      </p:sp>
      <p:sp>
        <p:nvSpPr>
          <p:cNvPr id="195" name="Google Shape;82;p2">
            <a:extLst>
              <a:ext uri="{FF2B5EF4-FFF2-40B4-BE49-F238E27FC236}">
                <a16:creationId xmlns:a16="http://schemas.microsoft.com/office/drawing/2014/main" id="{646E507D-D740-43AC-B785-E4E588274481}"/>
              </a:ext>
            </a:extLst>
          </p:cNvPr>
          <p:cNvSpPr txBox="1"/>
          <p:nvPr/>
        </p:nvSpPr>
        <p:spPr>
          <a:xfrm>
            <a:off x="7632654" y="2221280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90.2</a:t>
            </a:r>
            <a:endParaRPr dirty="0"/>
          </a:p>
        </p:txBody>
      </p:sp>
      <p:sp>
        <p:nvSpPr>
          <p:cNvPr id="196" name="Google Shape;83;p2">
            <a:extLst>
              <a:ext uri="{FF2B5EF4-FFF2-40B4-BE49-F238E27FC236}">
                <a16:creationId xmlns:a16="http://schemas.microsoft.com/office/drawing/2014/main" id="{32B7B8B2-6858-4E4E-9516-022F6AA591B1}"/>
              </a:ext>
            </a:extLst>
          </p:cNvPr>
          <p:cNvSpPr txBox="1"/>
          <p:nvPr/>
        </p:nvSpPr>
        <p:spPr>
          <a:xfrm>
            <a:off x="7632654" y="254729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24.7</a:t>
            </a:r>
            <a:endParaRPr dirty="0"/>
          </a:p>
        </p:txBody>
      </p:sp>
      <p:sp>
        <p:nvSpPr>
          <p:cNvPr id="197" name="Google Shape;84;p2">
            <a:extLst>
              <a:ext uri="{FF2B5EF4-FFF2-40B4-BE49-F238E27FC236}">
                <a16:creationId xmlns:a16="http://schemas.microsoft.com/office/drawing/2014/main" id="{CCCC887A-BC55-44B7-AA02-5A5B6767B1D9}"/>
              </a:ext>
            </a:extLst>
          </p:cNvPr>
          <p:cNvSpPr txBox="1"/>
          <p:nvPr/>
        </p:nvSpPr>
        <p:spPr>
          <a:xfrm>
            <a:off x="7632654" y="2873303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4</a:t>
            </a:r>
            <a:endParaRPr dirty="0"/>
          </a:p>
        </p:txBody>
      </p:sp>
      <p:sp>
        <p:nvSpPr>
          <p:cNvPr id="198" name="Google Shape;85;p2">
            <a:extLst>
              <a:ext uri="{FF2B5EF4-FFF2-40B4-BE49-F238E27FC236}">
                <a16:creationId xmlns:a16="http://schemas.microsoft.com/office/drawing/2014/main" id="{75C043D1-7CC3-448E-898F-A8A1C1C35D9A}"/>
              </a:ext>
            </a:extLst>
          </p:cNvPr>
          <p:cNvSpPr txBox="1"/>
          <p:nvPr/>
        </p:nvSpPr>
        <p:spPr>
          <a:xfrm>
            <a:off x="7632654" y="3199314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.6</a:t>
            </a:r>
            <a:endParaRPr dirty="0"/>
          </a:p>
        </p:txBody>
      </p:sp>
      <p:sp>
        <p:nvSpPr>
          <p:cNvPr id="199" name="Google Shape;86;p2">
            <a:extLst>
              <a:ext uri="{FF2B5EF4-FFF2-40B4-BE49-F238E27FC236}">
                <a16:creationId xmlns:a16="http://schemas.microsoft.com/office/drawing/2014/main" id="{447EAF26-8363-497E-B889-F9B8AF2ECFAA}"/>
              </a:ext>
            </a:extLst>
          </p:cNvPr>
          <p:cNvSpPr txBox="1"/>
          <p:nvPr/>
        </p:nvSpPr>
        <p:spPr>
          <a:xfrm>
            <a:off x="7632654" y="3525325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9</a:t>
            </a:r>
            <a:endParaRPr dirty="0"/>
          </a:p>
        </p:txBody>
      </p:sp>
      <p:sp>
        <p:nvSpPr>
          <p:cNvPr id="200" name="Google Shape;87;p2">
            <a:extLst>
              <a:ext uri="{FF2B5EF4-FFF2-40B4-BE49-F238E27FC236}">
                <a16:creationId xmlns:a16="http://schemas.microsoft.com/office/drawing/2014/main" id="{70DB3829-CE0D-4653-B385-8485044CFE40}"/>
              </a:ext>
            </a:extLst>
          </p:cNvPr>
          <p:cNvSpPr txBox="1"/>
          <p:nvPr/>
        </p:nvSpPr>
        <p:spPr>
          <a:xfrm>
            <a:off x="7632654" y="3851337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.9</a:t>
            </a:r>
            <a:endParaRPr dirty="0"/>
          </a:p>
        </p:txBody>
      </p:sp>
      <p:sp>
        <p:nvSpPr>
          <p:cNvPr id="201" name="Google Shape;88;p2">
            <a:extLst>
              <a:ext uri="{FF2B5EF4-FFF2-40B4-BE49-F238E27FC236}">
                <a16:creationId xmlns:a16="http://schemas.microsoft.com/office/drawing/2014/main" id="{779A27B9-6173-4A02-A2B9-7DC1DCEF7C32}"/>
              </a:ext>
            </a:extLst>
          </p:cNvPr>
          <p:cNvSpPr txBox="1"/>
          <p:nvPr/>
        </p:nvSpPr>
        <p:spPr>
          <a:xfrm>
            <a:off x="7632654" y="4177348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2</a:t>
            </a:r>
            <a:endParaRPr sz="1097" b="0" i="0" u="none" strike="noStrike" cap="none" dirty="0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" name="Google Shape;89;p2">
            <a:extLst>
              <a:ext uri="{FF2B5EF4-FFF2-40B4-BE49-F238E27FC236}">
                <a16:creationId xmlns:a16="http://schemas.microsoft.com/office/drawing/2014/main" id="{15BD6150-9DCB-4939-A4C3-D0D20B6DA66C}"/>
              </a:ext>
            </a:extLst>
          </p:cNvPr>
          <p:cNvSpPr txBox="1"/>
          <p:nvPr/>
        </p:nvSpPr>
        <p:spPr>
          <a:xfrm>
            <a:off x="7632654" y="4503360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50.5</a:t>
            </a:r>
            <a:endParaRPr dirty="0"/>
          </a:p>
        </p:txBody>
      </p:sp>
      <p:sp>
        <p:nvSpPr>
          <p:cNvPr id="203" name="Google Shape;90;p2">
            <a:extLst>
              <a:ext uri="{FF2B5EF4-FFF2-40B4-BE49-F238E27FC236}">
                <a16:creationId xmlns:a16="http://schemas.microsoft.com/office/drawing/2014/main" id="{B33A3554-38ED-4DAA-A587-36F2A0E452F8}"/>
              </a:ext>
            </a:extLst>
          </p:cNvPr>
          <p:cNvSpPr txBox="1"/>
          <p:nvPr/>
        </p:nvSpPr>
        <p:spPr>
          <a:xfrm>
            <a:off x="7632654" y="482937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5</a:t>
            </a:r>
            <a:endParaRPr dirty="0"/>
          </a:p>
        </p:txBody>
      </p:sp>
      <p:sp>
        <p:nvSpPr>
          <p:cNvPr id="204" name="Google Shape;91;p2">
            <a:extLst>
              <a:ext uri="{FF2B5EF4-FFF2-40B4-BE49-F238E27FC236}">
                <a16:creationId xmlns:a16="http://schemas.microsoft.com/office/drawing/2014/main" id="{B9B93048-6017-4525-85C0-4744332B9FCA}"/>
              </a:ext>
            </a:extLst>
          </p:cNvPr>
          <p:cNvSpPr txBox="1"/>
          <p:nvPr/>
        </p:nvSpPr>
        <p:spPr>
          <a:xfrm>
            <a:off x="7632654" y="5155382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41.3</a:t>
            </a:r>
            <a:endParaRPr dirty="0"/>
          </a:p>
        </p:txBody>
      </p:sp>
      <p:sp>
        <p:nvSpPr>
          <p:cNvPr id="205" name="Google Shape;94;p2">
            <a:extLst>
              <a:ext uri="{FF2B5EF4-FFF2-40B4-BE49-F238E27FC236}">
                <a16:creationId xmlns:a16="http://schemas.microsoft.com/office/drawing/2014/main" id="{FF636D47-553B-4208-B7DF-C8B692DFAA32}"/>
              </a:ext>
            </a:extLst>
          </p:cNvPr>
          <p:cNvSpPr txBox="1"/>
          <p:nvPr/>
        </p:nvSpPr>
        <p:spPr>
          <a:xfrm>
            <a:off x="7570261" y="1266040"/>
            <a:ext cx="485932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097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6" name="Google Shape;95;p2">
            <a:extLst>
              <a:ext uri="{FF2B5EF4-FFF2-40B4-BE49-F238E27FC236}">
                <a16:creationId xmlns:a16="http://schemas.microsoft.com/office/drawing/2014/main" id="{2430ACC1-F564-42C5-92BD-CE03F42CA6AF}"/>
              </a:ext>
            </a:extLst>
          </p:cNvPr>
          <p:cNvCxnSpPr/>
          <p:nvPr/>
        </p:nvCxnSpPr>
        <p:spPr>
          <a:xfrm>
            <a:off x="8160101" y="1461948"/>
            <a:ext cx="48593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7" name="Google Shape;96;p2">
            <a:extLst>
              <a:ext uri="{FF2B5EF4-FFF2-40B4-BE49-F238E27FC236}">
                <a16:creationId xmlns:a16="http://schemas.microsoft.com/office/drawing/2014/main" id="{33C11DE5-F4A5-469B-85DA-225C28C7B427}"/>
              </a:ext>
            </a:extLst>
          </p:cNvPr>
          <p:cNvSpPr txBox="1"/>
          <p:nvPr/>
        </p:nvSpPr>
        <p:spPr>
          <a:xfrm>
            <a:off x="8227236" y="1569257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5.2</a:t>
            </a:r>
            <a:endParaRPr dirty="0"/>
          </a:p>
        </p:txBody>
      </p:sp>
      <p:sp>
        <p:nvSpPr>
          <p:cNvPr id="208" name="Google Shape;97;p2">
            <a:extLst>
              <a:ext uri="{FF2B5EF4-FFF2-40B4-BE49-F238E27FC236}">
                <a16:creationId xmlns:a16="http://schemas.microsoft.com/office/drawing/2014/main" id="{65BA98D4-5404-4998-9F5D-07F53F65D861}"/>
              </a:ext>
            </a:extLst>
          </p:cNvPr>
          <p:cNvSpPr txBox="1"/>
          <p:nvPr/>
        </p:nvSpPr>
        <p:spPr>
          <a:xfrm>
            <a:off x="8227236" y="1895268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24.8</a:t>
            </a:r>
            <a:endParaRPr dirty="0"/>
          </a:p>
        </p:txBody>
      </p:sp>
      <p:sp>
        <p:nvSpPr>
          <p:cNvPr id="209" name="Google Shape;98;p2">
            <a:extLst>
              <a:ext uri="{FF2B5EF4-FFF2-40B4-BE49-F238E27FC236}">
                <a16:creationId xmlns:a16="http://schemas.microsoft.com/office/drawing/2014/main" id="{70E0EAA2-674F-4477-8A5C-54BDDFF51631}"/>
              </a:ext>
            </a:extLst>
          </p:cNvPr>
          <p:cNvSpPr txBox="1"/>
          <p:nvPr/>
        </p:nvSpPr>
        <p:spPr>
          <a:xfrm>
            <a:off x="8227236" y="2221280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22.7</a:t>
            </a:r>
            <a:endParaRPr dirty="0"/>
          </a:p>
        </p:txBody>
      </p:sp>
      <p:sp>
        <p:nvSpPr>
          <p:cNvPr id="210" name="Google Shape;99;p2">
            <a:extLst>
              <a:ext uri="{FF2B5EF4-FFF2-40B4-BE49-F238E27FC236}">
                <a16:creationId xmlns:a16="http://schemas.microsoft.com/office/drawing/2014/main" id="{6C3CA784-912E-4700-B76E-EE921B9DA05D}"/>
              </a:ext>
            </a:extLst>
          </p:cNvPr>
          <p:cNvSpPr txBox="1"/>
          <p:nvPr/>
        </p:nvSpPr>
        <p:spPr>
          <a:xfrm>
            <a:off x="8227236" y="254729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02.7</a:t>
            </a:r>
            <a:endParaRPr dirty="0"/>
          </a:p>
        </p:txBody>
      </p:sp>
      <p:sp>
        <p:nvSpPr>
          <p:cNvPr id="211" name="Google Shape;100;p2">
            <a:extLst>
              <a:ext uri="{FF2B5EF4-FFF2-40B4-BE49-F238E27FC236}">
                <a16:creationId xmlns:a16="http://schemas.microsoft.com/office/drawing/2014/main" id="{AC78FA4D-2B7F-44A5-9556-ADAFF2CF0DC7}"/>
              </a:ext>
            </a:extLst>
          </p:cNvPr>
          <p:cNvSpPr txBox="1"/>
          <p:nvPr/>
        </p:nvSpPr>
        <p:spPr>
          <a:xfrm>
            <a:off x="8227236" y="2873303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.7</a:t>
            </a:r>
            <a:endParaRPr dirty="0"/>
          </a:p>
        </p:txBody>
      </p:sp>
      <p:sp>
        <p:nvSpPr>
          <p:cNvPr id="212" name="Google Shape;101;p2">
            <a:extLst>
              <a:ext uri="{FF2B5EF4-FFF2-40B4-BE49-F238E27FC236}">
                <a16:creationId xmlns:a16="http://schemas.microsoft.com/office/drawing/2014/main" id="{A332BED6-2CF6-4CD0-9D21-D18DB8B53CA6}"/>
              </a:ext>
            </a:extLst>
          </p:cNvPr>
          <p:cNvSpPr txBox="1"/>
          <p:nvPr/>
        </p:nvSpPr>
        <p:spPr>
          <a:xfrm>
            <a:off x="8227236" y="3199314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8.4</a:t>
            </a:r>
            <a:endParaRPr dirty="0"/>
          </a:p>
        </p:txBody>
      </p:sp>
      <p:sp>
        <p:nvSpPr>
          <p:cNvPr id="213" name="Google Shape;102;p2">
            <a:extLst>
              <a:ext uri="{FF2B5EF4-FFF2-40B4-BE49-F238E27FC236}">
                <a16:creationId xmlns:a16="http://schemas.microsoft.com/office/drawing/2014/main" id="{D68B3CC1-2C11-48C8-A2E2-4D71DF5B8C52}"/>
              </a:ext>
            </a:extLst>
          </p:cNvPr>
          <p:cNvSpPr txBox="1"/>
          <p:nvPr/>
        </p:nvSpPr>
        <p:spPr>
          <a:xfrm>
            <a:off x="8227236" y="3525325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7.3</a:t>
            </a:r>
            <a:endParaRPr dirty="0"/>
          </a:p>
        </p:txBody>
      </p:sp>
      <p:sp>
        <p:nvSpPr>
          <p:cNvPr id="214" name="Google Shape;103;p2">
            <a:extLst>
              <a:ext uri="{FF2B5EF4-FFF2-40B4-BE49-F238E27FC236}">
                <a16:creationId xmlns:a16="http://schemas.microsoft.com/office/drawing/2014/main" id="{2E0C8FBA-1D5A-461B-98B8-B9E871929F36}"/>
              </a:ext>
            </a:extLst>
          </p:cNvPr>
          <p:cNvSpPr txBox="1"/>
          <p:nvPr/>
        </p:nvSpPr>
        <p:spPr>
          <a:xfrm>
            <a:off x="8227236" y="3851337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0.4</a:t>
            </a:r>
            <a:endParaRPr dirty="0"/>
          </a:p>
        </p:txBody>
      </p:sp>
      <p:sp>
        <p:nvSpPr>
          <p:cNvPr id="215" name="Google Shape;104;p2">
            <a:extLst>
              <a:ext uri="{FF2B5EF4-FFF2-40B4-BE49-F238E27FC236}">
                <a16:creationId xmlns:a16="http://schemas.microsoft.com/office/drawing/2014/main" id="{80669AA7-E579-4850-822D-D92FB39A209E}"/>
              </a:ext>
            </a:extLst>
          </p:cNvPr>
          <p:cNvSpPr txBox="1"/>
          <p:nvPr/>
        </p:nvSpPr>
        <p:spPr>
          <a:xfrm>
            <a:off x="8227236" y="4177348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65.8</a:t>
            </a:r>
            <a:endParaRPr dirty="0"/>
          </a:p>
        </p:txBody>
      </p:sp>
      <p:sp>
        <p:nvSpPr>
          <p:cNvPr id="216" name="Google Shape;105;p2">
            <a:extLst>
              <a:ext uri="{FF2B5EF4-FFF2-40B4-BE49-F238E27FC236}">
                <a16:creationId xmlns:a16="http://schemas.microsoft.com/office/drawing/2014/main" id="{BA897F46-F17F-43DC-B2F1-B5985577A9C1}"/>
              </a:ext>
            </a:extLst>
          </p:cNvPr>
          <p:cNvSpPr txBox="1"/>
          <p:nvPr/>
        </p:nvSpPr>
        <p:spPr>
          <a:xfrm>
            <a:off x="8227236" y="4503360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17.0</a:t>
            </a:r>
            <a:endParaRPr dirty="0"/>
          </a:p>
        </p:txBody>
      </p:sp>
      <p:sp>
        <p:nvSpPr>
          <p:cNvPr id="217" name="Google Shape;106;p2">
            <a:extLst>
              <a:ext uri="{FF2B5EF4-FFF2-40B4-BE49-F238E27FC236}">
                <a16:creationId xmlns:a16="http://schemas.microsoft.com/office/drawing/2014/main" id="{520FA078-DCC6-449A-A277-FD2052E8A3FB}"/>
              </a:ext>
            </a:extLst>
          </p:cNvPr>
          <p:cNvSpPr txBox="1"/>
          <p:nvPr/>
        </p:nvSpPr>
        <p:spPr>
          <a:xfrm>
            <a:off x="8227236" y="482937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73.3</a:t>
            </a:r>
            <a:endParaRPr dirty="0"/>
          </a:p>
        </p:txBody>
      </p:sp>
      <p:sp>
        <p:nvSpPr>
          <p:cNvPr id="218" name="Google Shape;107;p2">
            <a:extLst>
              <a:ext uri="{FF2B5EF4-FFF2-40B4-BE49-F238E27FC236}">
                <a16:creationId xmlns:a16="http://schemas.microsoft.com/office/drawing/2014/main" id="{9D643E84-F9FD-469F-9FF6-B420790AC481}"/>
              </a:ext>
            </a:extLst>
          </p:cNvPr>
          <p:cNvSpPr txBox="1"/>
          <p:nvPr/>
        </p:nvSpPr>
        <p:spPr>
          <a:xfrm>
            <a:off x="8227236" y="5155382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56.2</a:t>
            </a:r>
            <a:endParaRPr dirty="0"/>
          </a:p>
        </p:txBody>
      </p:sp>
      <p:sp>
        <p:nvSpPr>
          <p:cNvPr id="219" name="Google Shape;110;p2">
            <a:extLst>
              <a:ext uri="{FF2B5EF4-FFF2-40B4-BE49-F238E27FC236}">
                <a16:creationId xmlns:a16="http://schemas.microsoft.com/office/drawing/2014/main" id="{D5C190C7-8085-478E-B3AB-7B18189CE8F4}"/>
              </a:ext>
            </a:extLst>
          </p:cNvPr>
          <p:cNvSpPr txBox="1"/>
          <p:nvPr/>
        </p:nvSpPr>
        <p:spPr>
          <a:xfrm>
            <a:off x="8087310" y="1264624"/>
            <a:ext cx="629888" cy="149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1" dirty="0">
                <a:solidFill>
                  <a:schemeClr val="dk1"/>
                </a:solidFill>
              </a:rPr>
              <a:t>F</a:t>
            </a:r>
            <a:r>
              <a:rPr lang="en-US" sz="1097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ecast</a:t>
            </a:r>
            <a:endParaRPr sz="1097" b="0" i="0" u="none" strike="noStrike" cap="none" dirty="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0" name="Google Shape;113;p2">
            <a:extLst>
              <a:ext uri="{FF2B5EF4-FFF2-40B4-BE49-F238E27FC236}">
                <a16:creationId xmlns:a16="http://schemas.microsoft.com/office/drawing/2014/main" id="{A65AE1D7-AEF5-4B63-A0E6-8F488E7AF6F3}"/>
              </a:ext>
            </a:extLst>
          </p:cNvPr>
          <p:cNvCxnSpPr/>
          <p:nvPr/>
        </p:nvCxnSpPr>
        <p:spPr>
          <a:xfrm>
            <a:off x="4534944" y="5485649"/>
            <a:ext cx="0" cy="94980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222" name="Google Shape;117;p2">
            <a:extLst>
              <a:ext uri="{FF2B5EF4-FFF2-40B4-BE49-F238E27FC236}">
                <a16:creationId xmlns:a16="http://schemas.microsoft.com/office/drawing/2014/main" id="{98E7AB62-35E9-4F3B-9685-69F95C1CE8C7}"/>
              </a:ext>
            </a:extLst>
          </p:cNvPr>
          <p:cNvSpPr/>
          <p:nvPr/>
        </p:nvSpPr>
        <p:spPr>
          <a:xfrm>
            <a:off x="3045032" y="5208802"/>
            <a:ext cx="1394623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head </a:t>
            </a:r>
            <a:r>
              <a:rPr lang="en-US" sz="1097" dirty="0">
                <a:solidFill>
                  <a:schemeClr val="dk1"/>
                </a:solidFill>
              </a:rPr>
              <a:t>Over All</a:t>
            </a:r>
            <a:endParaRPr dirty="0"/>
          </a:p>
        </p:txBody>
      </p:sp>
      <p:sp>
        <p:nvSpPr>
          <p:cNvPr id="223" name="Google Shape;118;p2">
            <a:extLst>
              <a:ext uri="{FF2B5EF4-FFF2-40B4-BE49-F238E27FC236}">
                <a16:creationId xmlns:a16="http://schemas.microsoft.com/office/drawing/2014/main" id="{A043ED9C-6300-4925-93CA-68C9001E4CE1}"/>
              </a:ext>
            </a:extLst>
          </p:cNvPr>
          <p:cNvSpPr/>
          <p:nvPr/>
        </p:nvSpPr>
        <p:spPr>
          <a:xfrm>
            <a:off x="2782254" y="3796787"/>
            <a:ext cx="1657403" cy="260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duction Cost </a:t>
            </a:r>
            <a:r>
              <a:rPr lang="en-US" sz="1097" dirty="0">
                <a:solidFill>
                  <a:schemeClr val="dk1"/>
                </a:solidFill>
              </a:rPr>
              <a:t>Over All</a:t>
            </a:r>
            <a:endParaRPr sz="109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119;p2">
            <a:extLst>
              <a:ext uri="{FF2B5EF4-FFF2-40B4-BE49-F238E27FC236}">
                <a16:creationId xmlns:a16="http://schemas.microsoft.com/office/drawing/2014/main" id="{8AC9CFDC-B15A-468E-A167-2BA6F23B12A1}"/>
              </a:ext>
            </a:extLst>
          </p:cNvPr>
          <p:cNvSpPr/>
          <p:nvPr/>
        </p:nvSpPr>
        <p:spPr>
          <a:xfrm>
            <a:off x="2782254" y="3449057"/>
            <a:ext cx="1657402" cy="2527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duction Cost </a:t>
            </a:r>
            <a:r>
              <a:rPr lang="en-US" sz="1097" dirty="0" err="1">
                <a:solidFill>
                  <a:schemeClr val="dk1"/>
                </a:solidFill>
              </a:rPr>
              <a:t>Jutik</a:t>
            </a:r>
            <a:endParaRPr sz="109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5" name="Google Shape;120;p2">
            <a:extLst>
              <a:ext uri="{FF2B5EF4-FFF2-40B4-BE49-F238E27FC236}">
                <a16:creationId xmlns:a16="http://schemas.microsoft.com/office/drawing/2014/main" id="{518869C3-51EF-463A-8FA4-A603008737ED}"/>
              </a:ext>
            </a:extLst>
          </p:cNvPr>
          <p:cNvSpPr/>
          <p:nvPr/>
        </p:nvSpPr>
        <p:spPr>
          <a:xfrm>
            <a:off x="2782255" y="3224718"/>
            <a:ext cx="1657402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duction Cost </a:t>
            </a:r>
            <a:r>
              <a:rPr lang="en-US" sz="1097" dirty="0" err="1">
                <a:solidFill>
                  <a:schemeClr val="dk1"/>
                </a:solidFill>
              </a:rPr>
              <a:t>Surjek</a:t>
            </a:r>
            <a:endParaRPr sz="1097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121;p2">
            <a:extLst>
              <a:ext uri="{FF2B5EF4-FFF2-40B4-BE49-F238E27FC236}">
                <a16:creationId xmlns:a16="http://schemas.microsoft.com/office/drawing/2014/main" id="{A80D78FA-63E8-478F-B111-B743D3A59425}"/>
              </a:ext>
            </a:extLst>
          </p:cNvPr>
          <p:cNvSpPr/>
          <p:nvPr/>
        </p:nvSpPr>
        <p:spPr>
          <a:xfrm>
            <a:off x="2924724" y="2835405"/>
            <a:ext cx="1514933" cy="224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dirty="0">
                <a:solidFill>
                  <a:schemeClr val="dk1"/>
                </a:solidFill>
              </a:rPr>
              <a:t>Production Cost </a:t>
            </a:r>
            <a:r>
              <a:rPr lang="en-US" sz="1097" dirty="0" err="1">
                <a:solidFill>
                  <a:srgbClr val="002C46"/>
                </a:solidFill>
              </a:rPr>
              <a:t>Kootha</a:t>
            </a:r>
            <a:endParaRPr dirty="0"/>
          </a:p>
        </p:txBody>
      </p:sp>
      <p:sp>
        <p:nvSpPr>
          <p:cNvPr id="227" name="Google Shape;122;p2">
            <a:extLst>
              <a:ext uri="{FF2B5EF4-FFF2-40B4-BE49-F238E27FC236}">
                <a16:creationId xmlns:a16="http://schemas.microsoft.com/office/drawing/2014/main" id="{AE8453DA-0CDA-4C5C-843A-3159990AEDBD}"/>
              </a:ext>
            </a:extLst>
          </p:cNvPr>
          <p:cNvSpPr/>
          <p:nvPr/>
        </p:nvSpPr>
        <p:spPr>
          <a:xfrm>
            <a:off x="2182297" y="2559857"/>
            <a:ext cx="2257359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 Over All</a:t>
            </a:r>
            <a:endParaRPr dirty="0"/>
          </a:p>
        </p:txBody>
      </p:sp>
      <p:sp>
        <p:nvSpPr>
          <p:cNvPr id="228" name="Google Shape;123;p2">
            <a:extLst>
              <a:ext uri="{FF2B5EF4-FFF2-40B4-BE49-F238E27FC236}">
                <a16:creationId xmlns:a16="http://schemas.microsoft.com/office/drawing/2014/main" id="{04E0513C-5391-4AA2-99D7-1C471449F4E3}"/>
              </a:ext>
            </a:extLst>
          </p:cNvPr>
          <p:cNvSpPr/>
          <p:nvPr/>
        </p:nvSpPr>
        <p:spPr>
          <a:xfrm>
            <a:off x="2924724" y="2232177"/>
            <a:ext cx="1514932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 </a:t>
            </a:r>
            <a:r>
              <a:rPr lang="en-US" sz="1097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tik</a:t>
            </a:r>
            <a:endParaRPr dirty="0"/>
          </a:p>
        </p:txBody>
      </p:sp>
      <p:sp>
        <p:nvSpPr>
          <p:cNvPr id="229" name="Google Shape;124;p2">
            <a:extLst>
              <a:ext uri="{FF2B5EF4-FFF2-40B4-BE49-F238E27FC236}">
                <a16:creationId xmlns:a16="http://schemas.microsoft.com/office/drawing/2014/main" id="{EFBC00C7-E639-4B06-81AD-7A28BDBAA16D}"/>
              </a:ext>
            </a:extLst>
          </p:cNvPr>
          <p:cNvSpPr/>
          <p:nvPr/>
        </p:nvSpPr>
        <p:spPr>
          <a:xfrm>
            <a:off x="3345767" y="4876371"/>
            <a:ext cx="1093889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head </a:t>
            </a:r>
            <a:r>
              <a:rPr lang="en-US" sz="1097" dirty="0" err="1">
                <a:solidFill>
                  <a:schemeClr val="dk1"/>
                </a:solidFill>
              </a:rPr>
              <a:t>Jutik</a:t>
            </a:r>
            <a:endParaRPr dirty="0"/>
          </a:p>
        </p:txBody>
      </p:sp>
      <p:sp>
        <p:nvSpPr>
          <p:cNvPr id="230" name="Google Shape;125;p2">
            <a:extLst>
              <a:ext uri="{FF2B5EF4-FFF2-40B4-BE49-F238E27FC236}">
                <a16:creationId xmlns:a16="http://schemas.microsoft.com/office/drawing/2014/main" id="{F72239CF-325F-4E7B-8CBC-81CB2D86EE45}"/>
              </a:ext>
            </a:extLst>
          </p:cNvPr>
          <p:cNvSpPr/>
          <p:nvPr/>
        </p:nvSpPr>
        <p:spPr>
          <a:xfrm>
            <a:off x="3122598" y="4544940"/>
            <a:ext cx="1317057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head </a:t>
            </a:r>
            <a:r>
              <a:rPr lang="en-US" sz="1097" dirty="0" err="1">
                <a:solidFill>
                  <a:schemeClr val="dk1"/>
                </a:solidFill>
              </a:rPr>
              <a:t>Surjek</a:t>
            </a:r>
            <a:endParaRPr dirty="0"/>
          </a:p>
        </p:txBody>
      </p:sp>
      <p:sp>
        <p:nvSpPr>
          <p:cNvPr id="231" name="Google Shape;126;p2">
            <a:extLst>
              <a:ext uri="{FF2B5EF4-FFF2-40B4-BE49-F238E27FC236}">
                <a16:creationId xmlns:a16="http://schemas.microsoft.com/office/drawing/2014/main" id="{35487996-8DDF-4DF8-87E8-E442B0843C53}"/>
              </a:ext>
            </a:extLst>
          </p:cNvPr>
          <p:cNvSpPr/>
          <p:nvPr/>
        </p:nvSpPr>
        <p:spPr>
          <a:xfrm>
            <a:off x="3045032" y="4217260"/>
            <a:ext cx="1394624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r"/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head </a:t>
            </a:r>
            <a:r>
              <a:rPr lang="en-US" sz="1097" dirty="0" err="1">
                <a:solidFill>
                  <a:srgbClr val="002C46"/>
                </a:solidFill>
              </a:rPr>
              <a:t>Kootha</a:t>
            </a:r>
            <a:endParaRPr dirty="0"/>
          </a:p>
        </p:txBody>
      </p:sp>
      <p:sp>
        <p:nvSpPr>
          <p:cNvPr id="232" name="Google Shape;127;p2">
            <a:extLst>
              <a:ext uri="{FF2B5EF4-FFF2-40B4-BE49-F238E27FC236}">
                <a16:creationId xmlns:a16="http://schemas.microsoft.com/office/drawing/2014/main" id="{2067FD46-1808-4AA2-BACF-3FD16A74B3E4}"/>
              </a:ext>
            </a:extLst>
          </p:cNvPr>
          <p:cNvSpPr/>
          <p:nvPr/>
        </p:nvSpPr>
        <p:spPr>
          <a:xfrm>
            <a:off x="3961107" y="5585884"/>
            <a:ext cx="520808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¹EBIT</a:t>
            </a:r>
            <a:endParaRPr dirty="0"/>
          </a:p>
        </p:txBody>
      </p:sp>
      <p:sp>
        <p:nvSpPr>
          <p:cNvPr id="233" name="Google Shape;129;p2">
            <a:extLst>
              <a:ext uri="{FF2B5EF4-FFF2-40B4-BE49-F238E27FC236}">
                <a16:creationId xmlns:a16="http://schemas.microsoft.com/office/drawing/2014/main" id="{8B79FE8E-386D-4E27-B04B-ECA05F21612C}"/>
              </a:ext>
            </a:extLst>
          </p:cNvPr>
          <p:cNvSpPr/>
          <p:nvPr/>
        </p:nvSpPr>
        <p:spPr>
          <a:xfrm>
            <a:off x="2641366" y="1904495"/>
            <a:ext cx="1798289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 </a:t>
            </a:r>
            <a:r>
              <a:rPr lang="en-US" sz="1097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rjek</a:t>
            </a:r>
            <a:endParaRPr dirty="0"/>
          </a:p>
        </p:txBody>
      </p:sp>
      <p:sp>
        <p:nvSpPr>
          <p:cNvPr id="234" name="Google Shape;130;p2">
            <a:extLst>
              <a:ext uri="{FF2B5EF4-FFF2-40B4-BE49-F238E27FC236}">
                <a16:creationId xmlns:a16="http://schemas.microsoft.com/office/drawing/2014/main" id="{408220D8-CDAF-4644-98D6-0862A9CBA2D7}"/>
              </a:ext>
            </a:extLst>
          </p:cNvPr>
          <p:cNvSpPr/>
          <p:nvPr/>
        </p:nvSpPr>
        <p:spPr>
          <a:xfrm>
            <a:off x="2791752" y="1572065"/>
            <a:ext cx="1647904" cy="167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</a:t>
            </a:r>
            <a:r>
              <a:rPr lang="en-US" sz="1097" b="0" i="0" u="none" strike="noStrike" cap="none" dirty="0" err="1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Kootha</a:t>
            </a:r>
            <a:r>
              <a:rPr lang="en-US" sz="1097" b="0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</p:txBody>
      </p:sp>
      <p:cxnSp>
        <p:nvCxnSpPr>
          <p:cNvPr id="235" name="Google Shape;134;p2">
            <a:extLst>
              <a:ext uri="{FF2B5EF4-FFF2-40B4-BE49-F238E27FC236}">
                <a16:creationId xmlns:a16="http://schemas.microsoft.com/office/drawing/2014/main" id="{1E346969-42E2-44B3-BC8A-0E8D18A50C05}"/>
              </a:ext>
            </a:extLst>
          </p:cNvPr>
          <p:cNvCxnSpPr/>
          <p:nvPr/>
        </p:nvCxnSpPr>
        <p:spPr>
          <a:xfrm>
            <a:off x="283563" y="2795956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36" name="Google Shape;135;p2">
            <a:extLst>
              <a:ext uri="{FF2B5EF4-FFF2-40B4-BE49-F238E27FC236}">
                <a16:creationId xmlns:a16="http://schemas.microsoft.com/office/drawing/2014/main" id="{46013590-699C-4F93-9A1F-A0A61D597B67}"/>
              </a:ext>
            </a:extLst>
          </p:cNvPr>
          <p:cNvCxnSpPr/>
          <p:nvPr/>
        </p:nvCxnSpPr>
        <p:spPr>
          <a:xfrm>
            <a:off x="227292" y="4105960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37" name="Google Shape;72;p2">
            <a:extLst>
              <a:ext uri="{FF2B5EF4-FFF2-40B4-BE49-F238E27FC236}">
                <a16:creationId xmlns:a16="http://schemas.microsoft.com/office/drawing/2014/main" id="{B28AE632-DEF0-4D7E-BA1E-60B221B7ECF0}"/>
              </a:ext>
            </a:extLst>
          </p:cNvPr>
          <p:cNvCxnSpPr>
            <a:cxnSpLocks/>
          </p:cNvCxnSpPr>
          <p:nvPr/>
        </p:nvCxnSpPr>
        <p:spPr>
          <a:xfrm>
            <a:off x="245549" y="2467112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" name="Google Shape;131;p2">
            <a:extLst>
              <a:ext uri="{FF2B5EF4-FFF2-40B4-BE49-F238E27FC236}">
                <a16:creationId xmlns:a16="http://schemas.microsoft.com/office/drawing/2014/main" id="{ABFF3AC7-0E69-4420-844A-169B1B6D04DB}"/>
              </a:ext>
            </a:extLst>
          </p:cNvPr>
          <p:cNvSpPr/>
          <p:nvPr/>
        </p:nvSpPr>
        <p:spPr>
          <a:xfrm>
            <a:off x="223017" y="1547646"/>
            <a:ext cx="1311870" cy="1276855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3225" tIns="73225" rIns="73225" bIns="732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97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venue</a:t>
            </a:r>
            <a:endParaRPr/>
          </a:p>
        </p:txBody>
      </p:sp>
      <p:cxnSp>
        <p:nvCxnSpPr>
          <p:cNvPr id="239" name="Google Shape;72;p2">
            <a:extLst>
              <a:ext uri="{FF2B5EF4-FFF2-40B4-BE49-F238E27FC236}">
                <a16:creationId xmlns:a16="http://schemas.microsoft.com/office/drawing/2014/main" id="{7ED22444-5B38-4293-894B-725524339A94}"/>
              </a:ext>
            </a:extLst>
          </p:cNvPr>
          <p:cNvCxnSpPr>
            <a:cxnSpLocks/>
          </p:cNvCxnSpPr>
          <p:nvPr/>
        </p:nvCxnSpPr>
        <p:spPr>
          <a:xfrm>
            <a:off x="347653" y="5088464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0" name="Google Shape;133;p2">
            <a:extLst>
              <a:ext uri="{FF2B5EF4-FFF2-40B4-BE49-F238E27FC236}">
                <a16:creationId xmlns:a16="http://schemas.microsoft.com/office/drawing/2014/main" id="{AA72F656-2F01-474E-B8EF-96B1814B5552}"/>
              </a:ext>
            </a:extLst>
          </p:cNvPr>
          <p:cNvSpPr/>
          <p:nvPr/>
        </p:nvSpPr>
        <p:spPr>
          <a:xfrm>
            <a:off x="223015" y="4126394"/>
            <a:ext cx="1311870" cy="1289572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3225" tIns="73225" rIns="73225" bIns="732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9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perational Expenses (Overheads)</a:t>
            </a:r>
            <a:endParaRPr/>
          </a:p>
        </p:txBody>
      </p:sp>
      <p:cxnSp>
        <p:nvCxnSpPr>
          <p:cNvPr id="241" name="Google Shape;72;p2">
            <a:extLst>
              <a:ext uri="{FF2B5EF4-FFF2-40B4-BE49-F238E27FC236}">
                <a16:creationId xmlns:a16="http://schemas.microsoft.com/office/drawing/2014/main" id="{FF0B780C-BBE4-4F93-80CB-55EEEEBD22A9}"/>
              </a:ext>
            </a:extLst>
          </p:cNvPr>
          <p:cNvCxnSpPr>
            <a:cxnSpLocks/>
          </p:cNvCxnSpPr>
          <p:nvPr/>
        </p:nvCxnSpPr>
        <p:spPr>
          <a:xfrm>
            <a:off x="325572" y="3776657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2" name="Google Shape;132;p2">
            <a:extLst>
              <a:ext uri="{FF2B5EF4-FFF2-40B4-BE49-F238E27FC236}">
                <a16:creationId xmlns:a16="http://schemas.microsoft.com/office/drawing/2014/main" id="{A731CE45-F83F-4989-8882-9E63BC6DB667}"/>
              </a:ext>
            </a:extLst>
          </p:cNvPr>
          <p:cNvSpPr/>
          <p:nvPr/>
        </p:nvSpPr>
        <p:spPr>
          <a:xfrm>
            <a:off x="223016" y="2842830"/>
            <a:ext cx="1311870" cy="1249286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3225" tIns="73225" rIns="73225" bIns="732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97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GS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97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(Production Costs)</a:t>
            </a:r>
            <a:endParaRPr dirty="0"/>
          </a:p>
        </p:txBody>
      </p:sp>
      <p:cxnSp>
        <p:nvCxnSpPr>
          <p:cNvPr id="243" name="Google Shape;78;p2">
            <a:extLst>
              <a:ext uri="{FF2B5EF4-FFF2-40B4-BE49-F238E27FC236}">
                <a16:creationId xmlns:a16="http://schemas.microsoft.com/office/drawing/2014/main" id="{B15EB0AC-C4A2-41F1-9BB9-198DAEA222F6}"/>
              </a:ext>
            </a:extLst>
          </p:cNvPr>
          <p:cNvCxnSpPr/>
          <p:nvPr/>
        </p:nvCxnSpPr>
        <p:spPr>
          <a:xfrm>
            <a:off x="325572" y="3144056"/>
            <a:ext cx="8418743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246" name="Google Shape;91;p2">
            <a:extLst>
              <a:ext uri="{FF2B5EF4-FFF2-40B4-BE49-F238E27FC236}">
                <a16:creationId xmlns:a16="http://schemas.microsoft.com/office/drawing/2014/main" id="{FB0E0DEC-D5E2-457F-94EE-A15F27655F5B}"/>
              </a:ext>
            </a:extLst>
          </p:cNvPr>
          <p:cNvSpPr txBox="1"/>
          <p:nvPr/>
        </p:nvSpPr>
        <p:spPr>
          <a:xfrm>
            <a:off x="7615014" y="554901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1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77.5</a:t>
            </a:r>
            <a:endParaRPr b="1" dirty="0"/>
          </a:p>
        </p:txBody>
      </p:sp>
      <p:sp>
        <p:nvSpPr>
          <p:cNvPr id="247" name="Google Shape;107;p2">
            <a:extLst>
              <a:ext uri="{FF2B5EF4-FFF2-40B4-BE49-F238E27FC236}">
                <a16:creationId xmlns:a16="http://schemas.microsoft.com/office/drawing/2014/main" id="{9F351D7D-165E-43EA-BA27-CF7042F9AAFB}"/>
              </a:ext>
            </a:extLst>
          </p:cNvPr>
          <p:cNvSpPr txBox="1"/>
          <p:nvPr/>
        </p:nvSpPr>
        <p:spPr>
          <a:xfrm>
            <a:off x="8209596" y="5549011"/>
            <a:ext cx="386828" cy="16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97" b="1" i="0" u="none" strike="noStrike" cap="none" dirty="0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-25.8</a:t>
            </a:r>
            <a:endParaRPr b="1" dirty="0"/>
          </a:p>
        </p:txBody>
      </p:sp>
      <p:graphicFrame>
        <p:nvGraphicFramePr>
          <p:cNvPr id="250" name="Chart 249">
            <a:extLst>
              <a:ext uri="{FF2B5EF4-FFF2-40B4-BE49-F238E27FC236}">
                <a16:creationId xmlns:a16="http://schemas.microsoft.com/office/drawing/2014/main" id="{06028F97-DF6E-495E-AF3A-8E3D2C2CA0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7919964"/>
              </p:ext>
            </p:extLst>
          </p:nvPr>
        </p:nvGraphicFramePr>
        <p:xfrm>
          <a:off x="5069093" y="1336937"/>
          <a:ext cx="2412585" cy="1595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1" name="Chart 250">
            <a:extLst>
              <a:ext uri="{FF2B5EF4-FFF2-40B4-BE49-F238E27FC236}">
                <a16:creationId xmlns:a16="http://schemas.microsoft.com/office/drawing/2014/main" id="{8F8AA75A-ECBA-4D6A-A658-9DFA20A3A4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2540442"/>
              </p:ext>
            </p:extLst>
          </p:nvPr>
        </p:nvGraphicFramePr>
        <p:xfrm>
          <a:off x="5069096" y="2717324"/>
          <a:ext cx="2198962" cy="1522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2" name="Chart 251">
            <a:extLst>
              <a:ext uri="{FF2B5EF4-FFF2-40B4-BE49-F238E27FC236}">
                <a16:creationId xmlns:a16="http://schemas.microsoft.com/office/drawing/2014/main" id="{81C0E289-BF3C-49FB-86C5-E8D10132D6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492996"/>
              </p:ext>
            </p:extLst>
          </p:nvPr>
        </p:nvGraphicFramePr>
        <p:xfrm>
          <a:off x="4360493" y="4020134"/>
          <a:ext cx="2871108" cy="1517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3" name="Chart 252">
            <a:extLst>
              <a:ext uri="{FF2B5EF4-FFF2-40B4-BE49-F238E27FC236}">
                <a16:creationId xmlns:a16="http://schemas.microsoft.com/office/drawing/2014/main" id="{D0827112-6A06-40CA-B645-203B613AEC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495447"/>
              </p:ext>
            </p:extLst>
          </p:nvPr>
        </p:nvGraphicFramePr>
        <p:xfrm>
          <a:off x="5073399" y="5307515"/>
          <a:ext cx="2871108" cy="683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5"/>
          <p:cNvSpPr/>
          <p:nvPr/>
        </p:nvSpPr>
        <p:spPr>
          <a:xfrm>
            <a:off x="187467" y="1149043"/>
            <a:ext cx="8586504" cy="5179159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5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Revenue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55433" y="201317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>
              <a:buClr>
                <a:schemeClr val="dk1"/>
              </a:buClr>
              <a:buSzPts val="1000"/>
            </a:pPr>
            <a:r>
              <a:rPr lang="en-US" sz="1600" dirty="0">
                <a:solidFill>
                  <a:schemeClr val="dk1"/>
                </a:solidFill>
              </a:rPr>
              <a:t>Revenue loss across two major unit due to maintenance contributed to reduction of overall yearly revenue by 115M for 2014-2015 period. </a:t>
            </a:r>
          </a:p>
        </p:txBody>
      </p:sp>
      <p:sp>
        <p:nvSpPr>
          <p:cNvPr id="183" name="Google Shape;183;p5"/>
          <p:cNvSpPr/>
          <p:nvPr/>
        </p:nvSpPr>
        <p:spPr>
          <a:xfrm>
            <a:off x="552259" y="4783350"/>
            <a:ext cx="7662846" cy="1490586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5"/>
          <p:cNvSpPr txBox="1"/>
          <p:nvPr/>
        </p:nvSpPr>
        <p:spPr>
          <a:xfrm>
            <a:off x="279239" y="4471908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5"/>
          <p:cNvSpPr txBox="1"/>
          <p:nvPr/>
        </p:nvSpPr>
        <p:spPr>
          <a:xfrm>
            <a:off x="539451" y="4924885"/>
            <a:ext cx="7271112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hly revenue expected a dramatically decrease around half during the four months maintenance event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lvl="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hly </a:t>
            </a:r>
            <a:r>
              <a:rPr lang="en-US" dirty="0">
                <a:solidFill>
                  <a:schemeClr val="dk1"/>
                </a:solidFill>
              </a:rPr>
              <a:t>re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enues are quite similar as last year before </a:t>
            </a:r>
            <a:r>
              <a:rPr lang="en-US" dirty="0">
                <a:solidFill>
                  <a:schemeClr val="dk1"/>
                </a:solidFill>
              </a:rPr>
              <a:t>and after maintenance event</a:t>
            </a: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3752BBFB-C2E5-4822-A40E-E7FC745700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965026"/>
              </p:ext>
            </p:extLst>
          </p:nvPr>
        </p:nvGraphicFramePr>
        <p:xfrm>
          <a:off x="279239" y="1261690"/>
          <a:ext cx="8293726" cy="3181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"/>
          <p:cNvSpPr/>
          <p:nvPr/>
        </p:nvSpPr>
        <p:spPr>
          <a:xfrm>
            <a:off x="69372" y="1170657"/>
            <a:ext cx="8586504" cy="5426913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6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COG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6"/>
          <p:cNvSpPr txBox="1">
            <a:spLocks noGrp="1"/>
          </p:cNvSpPr>
          <p:nvPr>
            <p:ph type="title"/>
          </p:nvPr>
        </p:nvSpPr>
        <p:spPr>
          <a:xfrm>
            <a:off x="288589" y="215572"/>
            <a:ext cx="766279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COGS is suggested to climb up (4.11M at peak) until next </a:t>
            </a:r>
            <a:r>
              <a:rPr lang="en-US" sz="1600" dirty="0">
                <a:solidFill>
                  <a:srgbClr val="002060"/>
                </a:solidFill>
              </a:rPr>
              <a:t>March</a:t>
            </a: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and drop down after the maintenance event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6"/>
          <p:cNvSpPr/>
          <p:nvPr/>
        </p:nvSpPr>
        <p:spPr>
          <a:xfrm>
            <a:off x="478025" y="6411664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4BB6BA5-CC36-4E8D-877E-1F5C9191DB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0600"/>
              </p:ext>
            </p:extLst>
          </p:nvPr>
        </p:nvGraphicFramePr>
        <p:xfrm>
          <a:off x="86345" y="1156770"/>
          <a:ext cx="8384260" cy="415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Google Shape;183;p5">
            <a:extLst>
              <a:ext uri="{FF2B5EF4-FFF2-40B4-BE49-F238E27FC236}">
                <a16:creationId xmlns:a16="http://schemas.microsoft.com/office/drawing/2014/main" id="{E5A881F6-A35B-4DD9-888B-CC5EE7CD77A7}"/>
              </a:ext>
            </a:extLst>
          </p:cNvPr>
          <p:cNvSpPr/>
          <p:nvPr/>
        </p:nvSpPr>
        <p:spPr>
          <a:xfrm>
            <a:off x="447052" y="5301982"/>
            <a:ext cx="7659885" cy="95406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184;p5">
            <a:extLst>
              <a:ext uri="{FF2B5EF4-FFF2-40B4-BE49-F238E27FC236}">
                <a16:creationId xmlns:a16="http://schemas.microsoft.com/office/drawing/2014/main" id="{BFEE209F-4289-4CF5-9B99-CCE87F3417EE}"/>
              </a:ext>
            </a:extLst>
          </p:cNvPr>
          <p:cNvSpPr txBox="1"/>
          <p:nvPr/>
        </p:nvSpPr>
        <p:spPr>
          <a:xfrm>
            <a:off x="288589" y="4888928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85;p5">
            <a:extLst>
              <a:ext uri="{FF2B5EF4-FFF2-40B4-BE49-F238E27FC236}">
                <a16:creationId xmlns:a16="http://schemas.microsoft.com/office/drawing/2014/main" id="{D3349C10-73BC-4C3E-AC79-46A8F308C5D2}"/>
              </a:ext>
            </a:extLst>
          </p:cNvPr>
          <p:cNvSpPr txBox="1"/>
          <p:nvPr/>
        </p:nvSpPr>
        <p:spPr>
          <a:xfrm>
            <a:off x="478025" y="5429407"/>
            <a:ext cx="7473356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thly COGS are expected to increase began from September due to the increased water demand</a:t>
            </a:r>
          </a:p>
          <a:p>
            <a:pPr marL="285750" lvl="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>
                <a:solidFill>
                  <a:schemeClr val="dk1"/>
                </a:solidFill>
              </a:rPr>
              <a:t>The cost will pile up during the four months maintenance event with maximum at 4.11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7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Operational Expense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8" name="Google Shape;208;p7"/>
          <p:cNvSpPr txBox="1">
            <a:spLocks noGrp="1"/>
          </p:cNvSpPr>
          <p:nvPr>
            <p:ph type="title"/>
          </p:nvPr>
        </p:nvSpPr>
        <p:spPr>
          <a:xfrm>
            <a:off x="86345" y="23080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Similarly, rising water demand has increased wear which is going to result in significant capital works in the next year 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7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FA733BA-FDFA-4C95-86B3-5A17D27721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7272578"/>
              </p:ext>
            </p:extLst>
          </p:nvPr>
        </p:nvGraphicFramePr>
        <p:xfrm>
          <a:off x="233209" y="1290755"/>
          <a:ext cx="8292775" cy="3186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Google Shape;183;p5">
            <a:extLst>
              <a:ext uri="{FF2B5EF4-FFF2-40B4-BE49-F238E27FC236}">
                <a16:creationId xmlns:a16="http://schemas.microsoft.com/office/drawing/2014/main" id="{72ED16CE-61E2-496D-BCB3-C463127484FB}"/>
              </a:ext>
            </a:extLst>
          </p:cNvPr>
          <p:cNvSpPr/>
          <p:nvPr/>
        </p:nvSpPr>
        <p:spPr>
          <a:xfrm>
            <a:off x="561609" y="4717787"/>
            <a:ext cx="7662846" cy="1493441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84;p5">
            <a:extLst>
              <a:ext uri="{FF2B5EF4-FFF2-40B4-BE49-F238E27FC236}">
                <a16:creationId xmlns:a16="http://schemas.microsoft.com/office/drawing/2014/main" id="{4BD64716-820A-4461-A05D-B4C3238F2C71}"/>
              </a:ext>
            </a:extLst>
          </p:cNvPr>
          <p:cNvSpPr txBox="1"/>
          <p:nvPr/>
        </p:nvSpPr>
        <p:spPr>
          <a:xfrm>
            <a:off x="288589" y="4406346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85;p5">
            <a:extLst>
              <a:ext uri="{FF2B5EF4-FFF2-40B4-BE49-F238E27FC236}">
                <a16:creationId xmlns:a16="http://schemas.microsoft.com/office/drawing/2014/main" id="{0456B8D6-CD2E-4B9F-B794-EB4F6D5B86BC}"/>
              </a:ext>
            </a:extLst>
          </p:cNvPr>
          <p:cNvSpPr txBox="1"/>
          <p:nvPr/>
        </p:nvSpPr>
        <p:spPr>
          <a:xfrm>
            <a:off x="548801" y="4859323"/>
            <a:ext cx="7271112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ignificantly</a:t>
            </a:r>
            <a:r>
              <a:rPr lang="en-US" dirty="0">
                <a:solidFill>
                  <a:schemeClr val="dk1"/>
                </a:solidFill>
              </a:rPr>
              <a:t> 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eration expense increase lasts start from September along with water demand increase and maintenance event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9B7D6AB-5269-47E4-A2B1-D9AEB5B597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1400418"/>
              </p:ext>
            </p:extLst>
          </p:nvPr>
        </p:nvGraphicFramePr>
        <p:xfrm>
          <a:off x="100361" y="1015110"/>
          <a:ext cx="8861077" cy="4691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Google Shape;208;p7">
            <a:extLst>
              <a:ext uri="{FF2B5EF4-FFF2-40B4-BE49-F238E27FC236}">
                <a16:creationId xmlns:a16="http://schemas.microsoft.com/office/drawing/2014/main" id="{A3348AFB-FCEE-4BFE-B562-B01BC5DC63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0995" y="375773"/>
            <a:ext cx="87398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Cost-to-produce variance </a:t>
            </a:r>
            <a:r>
              <a:rPr lang="en-US" sz="1600" dirty="0">
                <a:solidFill>
                  <a:srgbClr val="002060"/>
                </a:solidFill>
              </a:rPr>
              <a:t>in revenue has a 150% increase (32.52/ML)</a:t>
            </a: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for 2014-2015 period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787217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060</TotalTime>
  <Words>1146</Words>
  <Application>Microsoft Office PowerPoint</Application>
  <PresentationFormat>Custom</PresentationFormat>
  <Paragraphs>151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Noto Sans Symbols</vt:lpstr>
      <vt:lpstr>Quattrocento Sans</vt:lpstr>
      <vt:lpstr>Arial</vt:lpstr>
      <vt:lpstr>Calibri</vt:lpstr>
      <vt:lpstr>Synergy_CF_YNR002</vt:lpstr>
      <vt:lpstr>1_Synergy_CF_YNR002</vt:lpstr>
      <vt:lpstr>TCLayout.ActiveDocument.1</vt:lpstr>
      <vt:lpstr>Southern Water Corp – Executive Presentation</vt:lpstr>
      <vt:lpstr>Four months maintenance event reduced water production by 1968 ML, with elevated COGS and operation expenses (115M), causing a $38.0 production cost($/ML) increase for the 2014-2015 period.</vt:lpstr>
      <vt:lpstr>Observing the cost-curve reveals that the Cost-to-Produce weighted  price across all units dramatically increased  in July 2014- June 2015 compared to July 2013- June2014 </vt:lpstr>
      <vt:lpstr>Significant EBIT reduction in the 2014-2015 forecast, caused by boosted COGS and Overheads  across all units and dropped revenue in two major units</vt:lpstr>
      <vt:lpstr>Revenue loss across two major unit due to maintenance contributed to reduction of overall yearly revenue by 115M for 2014-2015 period. </vt:lpstr>
      <vt:lpstr> COGS is suggested to climb up (4.11M at peak) until next March and drop down after the maintenance events</vt:lpstr>
      <vt:lpstr> Similarly, rising water demand has increased wear which is going to result in significant capital works in the next year </vt:lpstr>
      <vt:lpstr>Cost-to-produce variance in revenue has a 150% increase (32.52/ML) for 2014-2015 period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Windows User</cp:lastModifiedBy>
  <cp:revision>49</cp:revision>
  <dcterms:created xsi:type="dcterms:W3CDTF">2015-09-14T11:37:31Z</dcterms:created>
  <dcterms:modified xsi:type="dcterms:W3CDTF">2021-01-13T22:1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